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317.xml" ContentType="application/vnd.openxmlformats-officedocument.presentationml.tags+xml"/>
  <Override PartName="/ppt/tags/tag32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tags/tag320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47.xml" ContentType="application/vnd.openxmlformats-officedocument.presentationml.tags+xml"/>
  <Override PartName="/ppt/tags/tag358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336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32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Default Extension="jpeg" ContentType="image/jpeg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 bookmarkIdSeed="2">
  <p:sldMasterIdLst>
    <p:sldMasterId id="2147483673" r:id="rId1"/>
  </p:sldMasterIdLst>
  <p:notesMasterIdLst>
    <p:notesMasterId r:id="rId12"/>
  </p:notesMasterIdLst>
  <p:handoutMasterIdLst>
    <p:handoutMasterId r:id="rId13"/>
  </p:handoutMasterIdLst>
  <p:sldIdLst>
    <p:sldId id="689" r:id="rId2"/>
    <p:sldId id="742" r:id="rId3"/>
    <p:sldId id="743" r:id="rId4"/>
    <p:sldId id="679" r:id="rId5"/>
    <p:sldId id="737" r:id="rId6"/>
    <p:sldId id="738" r:id="rId7"/>
    <p:sldId id="736" r:id="rId8"/>
    <p:sldId id="739" r:id="rId9"/>
    <p:sldId id="740" r:id="rId10"/>
    <p:sldId id="741" r:id="rId11"/>
  </p:sldIdLst>
  <p:sldSz cx="9144000" cy="6858000" type="letter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McCluskey" initials="M" lastIdx="1" clrIdx="0"/>
  <p:cmAuthor id="1" name="KEdwardson" initials="KE" lastIdx="14" clrIdx="1"/>
  <p:cmAuthor id="2" name="MMcCluskey" initials="MM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25180"/>
    <a:srgbClr val="79C174"/>
    <a:srgbClr val="737373"/>
    <a:srgbClr val="981D14"/>
    <a:srgbClr val="E9E9E9"/>
    <a:srgbClr val="C12519"/>
    <a:srgbClr val="D6BC5A"/>
    <a:srgbClr val="EBE4A1"/>
    <a:srgbClr val="0070C0"/>
    <a:srgbClr val="B8B8B8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060" autoAdjust="0"/>
    <p:restoredTop sz="76714" autoAdjust="0"/>
  </p:normalViewPr>
  <p:slideViewPr>
    <p:cSldViewPr snapToGrid="0">
      <p:cViewPr>
        <p:scale>
          <a:sx n="90" d="100"/>
          <a:sy n="90" d="100"/>
        </p:scale>
        <p:origin x="-2070" y="-84"/>
      </p:cViewPr>
      <p:guideLst>
        <p:guide orient="horz" pos="223"/>
        <p:guide pos="5697"/>
        <p:guide pos="161"/>
        <p:guide pos="2884"/>
        <p:guide pos="2958"/>
        <p:guide pos="41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30" d="100"/>
          <a:sy n="130" d="100"/>
        </p:scale>
        <p:origin x="-978" y="2430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E705FF-B60F-46D6-A23A-9EEDD91282AF}" type="datetimeFigureOut">
              <a:rPr lang="en-CA" smtClean="0"/>
              <a:pPr/>
              <a:t>12/03/2014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5587C-1D6A-4CEE-8D6F-CF5D663AFC75}" type="slidenum">
              <a:rPr lang="en-CA" smtClean="0"/>
              <a:pPr/>
              <a:t>‹#›</a:t>
            </a:fld>
            <a:endParaRPr lang="en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D5162399-2665-4A16-8309-6B57F63687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616">
              <a:defRPr sz="1500">
                <a:solidFill>
                  <a:schemeClr val="tx1"/>
                </a:solidFill>
                <a:latin typeface="Arial" charset="0"/>
              </a:defRPr>
            </a:lvl1pPr>
            <a:lvl2pPr marL="685682" indent="-263724" defTabSz="877616">
              <a:defRPr sz="1500">
                <a:solidFill>
                  <a:schemeClr val="tx1"/>
                </a:solidFill>
                <a:latin typeface="Arial" charset="0"/>
              </a:defRPr>
            </a:lvl2pPr>
            <a:lvl3pPr marL="1054897" indent="-210979" defTabSz="877616">
              <a:defRPr sz="1500">
                <a:solidFill>
                  <a:schemeClr val="tx1"/>
                </a:solidFill>
                <a:latin typeface="Arial" charset="0"/>
              </a:defRPr>
            </a:lvl3pPr>
            <a:lvl4pPr marL="1476855" indent="-210979" defTabSz="877616">
              <a:defRPr sz="1500">
                <a:solidFill>
                  <a:schemeClr val="tx1"/>
                </a:solidFill>
                <a:latin typeface="Arial" charset="0"/>
              </a:defRPr>
            </a:lvl4pPr>
            <a:lvl5pPr marL="1898813" indent="-210979" defTabSz="877616">
              <a:defRPr sz="1500">
                <a:solidFill>
                  <a:schemeClr val="tx1"/>
                </a:solidFill>
                <a:latin typeface="Arial" charset="0"/>
              </a:defRPr>
            </a:lvl5pPr>
            <a:lvl6pPr marL="2320771" indent="-210979" algn="ctr" defTabSz="87761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742731" indent="-210979" algn="ctr" defTabSz="87761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164690" indent="-210979" algn="ctr" defTabSz="87761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586648" indent="-210979" algn="ctr" defTabSz="87761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046DAD13-524B-48D2-BBEC-FAD3E51EB7E7}" type="slidenum">
              <a:rPr lang="de-DE" sz="1200">
                <a:latin typeface="Times" pitchFamily="18" charset="0"/>
              </a:rPr>
              <a:pPr/>
              <a:t>5</a:t>
            </a:fld>
            <a:endParaRPr lang="de-DE" sz="1200" dirty="0">
              <a:latin typeface="Times" pitchFamily="18" charset="0"/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73587" cy="3429000"/>
          </a:xfrm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i-FI" smtClean="0"/>
          </a:p>
        </p:txBody>
      </p:sp>
    </p:spTree>
    <p:extLst>
      <p:ext uri="{BB962C8B-B14F-4D97-AF65-F5344CB8AC3E}">
        <p14:creationId xmlns="" xmlns:p14="http://schemas.microsoft.com/office/powerpoint/2010/main" val="551443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/>
          <a:srcRect t="18807"/>
          <a:stretch>
            <a:fillRect/>
          </a:stretch>
        </p:blipFill>
        <p:spPr bwMode="auto">
          <a:xfrm>
            <a:off x="8" y="1045598"/>
            <a:ext cx="9143992" cy="2494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6275" y="3914776"/>
            <a:ext cx="7772400" cy="2190750"/>
          </a:xfrm>
        </p:spPr>
        <p:txBody>
          <a:bodyPr anchor="t"/>
          <a:lstStyle>
            <a:lvl1pPr>
              <a:defRPr>
                <a:solidFill>
                  <a:srgbClr val="981D1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CA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28"/>
          <p:cNvSpPr txBox="1">
            <a:spLocks noChangeArrowheads="1"/>
          </p:cNvSpPr>
          <p:nvPr userDrawn="1"/>
        </p:nvSpPr>
        <p:spPr bwMode="auto">
          <a:xfrm>
            <a:off x="815975" y="6624638"/>
            <a:ext cx="1905000" cy="250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</a:endParaRPr>
          </a:p>
        </p:txBody>
      </p:sp>
      <p:sp>
        <p:nvSpPr>
          <p:cNvPr id="512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75170" y="3136604"/>
            <a:ext cx="7772400" cy="1143000"/>
          </a:xfrm>
        </p:spPr>
        <p:txBody>
          <a:bodyPr/>
          <a:lstStyle>
            <a:lvl1pPr algn="r">
              <a:defRPr sz="2800" b="1"/>
            </a:lvl1pPr>
          </a:lstStyle>
          <a:p>
            <a:r>
              <a:rPr lang="en-US" dirty="0" smtClean="0"/>
              <a:t>Section Title Pag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51577"/>
            <a:ext cx="3826823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619501" y="1649602"/>
            <a:ext cx="3812974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‹#›</a:t>
            </a:fld>
            <a:endParaRPr lang="en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419100"/>
            <a:ext cx="5278437" cy="4889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399087"/>
          </a:xfrm>
        </p:spPr>
        <p:txBody>
          <a:bodyPr/>
          <a:lstStyle/>
          <a:p>
            <a:pPr lvl="0"/>
            <a:r>
              <a:rPr lang="de-DE" noProof="0" smtClean="0"/>
              <a:t>Tabelle durch Klicken auf Symbol hinzufügen</a:t>
            </a:r>
            <a:endParaRPr lang="en-US" noProof="0" smtClean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9525"/>
            <a:ext cx="7772400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312433"/>
            <a:ext cx="7772400" cy="4650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7" descr="EspialLogo.psd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85800" y="6238875"/>
            <a:ext cx="18049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019924" y="6330950"/>
            <a:ext cx="1438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63424-8F5B-4E44-8505-F9C5D492B398}" type="slidenum">
              <a:rPr lang="en-CA" smtClean="0"/>
              <a:pPr/>
              <a:t>‹#›</a:t>
            </a:fld>
            <a:endParaRPr lang="en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96" r:id="rId2"/>
    <p:sldLayoutId id="2147483708" r:id="rId3"/>
    <p:sldLayoutId id="2147483713" r:id="rId4"/>
    <p:sldLayoutId id="2147483717" r:id="rId5"/>
    <p:sldLayoutId id="2147483718" r:id="rId6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10000"/>
          </a:solidFill>
          <a:latin typeface="Arial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MS PGothic" pitchFamily="34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MS PGothic" pitchFamily="34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MS PGothic" pitchFamily="34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MS PGothic" pitchFamily="34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C10000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65113" indent="-265113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SzPct val="120000"/>
        <a:buChar char="•"/>
        <a:defRPr sz="2000">
          <a:solidFill>
            <a:schemeClr val="tx1">
              <a:lumMod val="65000"/>
              <a:lumOff val="35000"/>
            </a:schemeClr>
          </a:solidFill>
          <a:latin typeface="Arial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SzPct val="90000"/>
        <a:buFont typeface="Courier New" pitchFamily="49" charset="0"/>
        <a:buChar char="o"/>
        <a:defRPr sz="1800">
          <a:solidFill>
            <a:schemeClr val="tx1">
              <a:lumMod val="65000"/>
              <a:lumOff val="35000"/>
            </a:schemeClr>
          </a:solidFill>
          <a:latin typeface="Arial" charset="0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&gt;"/>
        <a:defRPr sz="1600">
          <a:solidFill>
            <a:schemeClr val="tx1">
              <a:lumMod val="65000"/>
              <a:lumOff val="35000"/>
            </a:schemeClr>
          </a:solidFill>
          <a:latin typeface="Arial" charset="0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65000"/>
              <a:lumOff val="35000"/>
            </a:schemeClr>
          </a:solidFill>
          <a:latin typeface="Arial" charset="0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>
              <a:lumMod val="65000"/>
              <a:lumOff val="35000"/>
            </a:schemeClr>
          </a:solidFill>
          <a:latin typeface="Arial" charset="0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F4F4F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F4F4F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F4F4F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F4F4F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3" Type="http://schemas.openxmlformats.org/officeDocument/2006/relationships/tags" Target="../tags/tag31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334" Type="http://schemas.openxmlformats.org/officeDocument/2006/relationships/tags" Target="../tags/tag334.xml"/><Relationship Id="rId350" Type="http://schemas.openxmlformats.org/officeDocument/2006/relationships/tags" Target="../tags/tag350.xml"/><Relationship Id="rId355" Type="http://schemas.openxmlformats.org/officeDocument/2006/relationships/tags" Target="../tags/tag35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slideLayout" Target="../slideLayouts/slideLayout6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AutoShape 2" descr="data:image/jpeg;base64,/9j/4AAQSkZJRgABAQAAAQABAAD/2wCEAAkGBxIHBhQUExQWFhUXGBwbFRYXFB8cIBoYGRwXIiAdICAcHigiGx8lIRceITEiJSksLi4uHCAzODMsNygvLisBCgoKDg0OGxAQGywkICQyLDQ2ODQsLCw3NDQsLCwsLy0sNCwsNDQvNDQsLCwsOC8sLC0sLCwsLCwvLCwsLCwsLP/AABEIAOwA1QMBEQACEQEDEQH/xAAbAAEAAwEBAQEAAAAAAAAAAAAABQYHBAMBAv/EADoQAAEDAgQEAwYFAwQDAQAAAAEAAgMEEQUGEiExQVFhcYGhBxMiMkKRFFKxwfAVYnIjM8LRJOHxFv/EABsBAQACAwEBAAAAAAAAAAAAAAAFBgIDBAEH/8QAMxEAAgICAAQCCAYCAwEAAAAAAAECAwQRBRIhMUFRImFxgZGhscEGExQy0fDh8RYjM0L/2gAMAwEAAhEDEQA/ANxQBAEAQBAEAQBAEAQBAEAQBAEAQBAEAQBAEAQBAEAQBAEAQBAEAQBAEAQBAEAQBAEAQBAEAQBAEAQBAEAQBAEAQBAEAQBAEAQBAEAQBAEAQBAEAQBAEAQBAEAQBAEAQBAEAQBAEAQBAEAQBAEAQBAEAQBAEAQBAEAQBAEAQBAEAQBAEAQBAEAQBAEAQBAEBQfaFmqry5jdP7hrZIhFLLUREfE+ON0QcWHiHNa9zulmm90BIxZkdXZxo2QyB1NPSSTbAfEQ5mk3tcbOO33QFtQEbmarfQZcqZWGz44ZHsNr2c1jiDY8dwgKjkHEqnFnwvlxanmeY9c1HHHCXNuLWLo3kjSXC5t25oDQEAQGXz1OLRZ+jw/+oiz4DN7z8FHcWc4abX7cb+SA09os0b379fsgPqAqWK5hmp/aNR0TdIilhlkk2uSWh2kX5AFt9kBbUAQGe45naaizg1rbCjiqIaad2m95Z2SOvqv8LYyI77cXG5QGhIAgCAIAgCAIAgCAIAgCAICr4vhEtVnyinDLwxwztkdduxkDNIsTc3seAKAgct5KqMu58DmAOoGsmMJ1DVCZnRkxWJuW3aS2wPE3NygNGQEZmelfXZbqo4xqe+CRrG3Au5zHAC5IAuTzKAqns7gq8Hoqenlwz3OmPRLUiaA30gm5DHF7rmw58UBfkAQFLqsDqJPazFViP/x20hjdJqbtIXvNtN9XAje1t0BdEAQFMxXBKio9qVHVNjvBHBIyR+puzna7DSTqPEcBzQFzQHlVSOipnuY0vcGktYCAXEDZtyQBc7XJAQGVM9mdTXZFnbPPM2qnMk8tO18XujUFxc250E/SwEh9vJAaRlt88mAwGqZon920TNu0/GBYm7SRYkX2PNASSAIAgCAIAgCAIAgCAIAgCAIAgCAIAgCAIAgCAIAgCAIAgCAIAgCAIAgCAIAgCAIAgCAIAgCAIAgCAIAgCAIAgCAIAgCAIAgCAIAgCAIAgCAIAgCAIAgCAIAgIbEszQYfMWklzhxDBe3iSQFkoNkVlcYxseXI22/Ue+FY5DipswnUNy1wsbfv5I4tG7D4lRldK318n3/vsJJYneec1QyD5nNb/k4D9V6k32MJWRh+5pH7a4PbcG46heGSaa2j6h6EAQBAEAQBAEAQBAEAQBAEAQBAEAQBAQ2KZppMLn0SSfGOLWtLiPGw28Cu2jh+RdHmhHp8DVO6EXps6sKxmDF4yYZA63EbgjxBsQtV+LbQ9WR0ZQsjP9rPTFpjT4ZK5vFrHEeIBWhdzVl2SronOPdJ/Qykm5XQfNW99WdGGzupq+NzeIcLffh58F5LsdGJZKu+Eo900aZjFb/TsLkk4lrdh3Ow9SFqrjzSSPoWXf8AkUys8l/oyWqqX1k5e9xc48Sf5sOyloxUVpHz+22dsnOb22TGUMWfQYoxlz7uRwa5vK7tgR0N7eS05FalFvxRI8JzJ03xhv0ZPWvb4mnqMLuEAQBAEAQBAEAQBAEAQBAEAQBAEAQEdmGrdQYHNI35msJb2PI+XFdGJWrL4Ql2bMLJOMG0Yi4lzrk3J3JPMq8duxEkjlytdQY5C9h+trSOrXEAj7H72XPmVRtolGXk/ijOqTjNNG2PaHsIIuCLEdiqOSskpLTKLieUJYpyYbPYeAuAR2N9j4rcrF4lOy+AXRm3T1j7dP5nZl7Kr4Kpsk1hpN2sBvvyJPDbssZT30R1cN4HOuxW366dl6/WWXFqIYjhskZ21NsD0PI/cBeQlyyTLDlUK+mVb8UZNX0UmH1BZI0tI68+4PMKVjNSW0UC/HsonyWLTJnJ+CvrsRZIWkRsIdqPMjgB134rTkWqMWvEkuEYM7bo2Neiuvt15GhV9dHh1KZJXhjRzP6DqewUfGLk9IvFVU7ZcsFtlfiz9RSTaS57R+ZzDb03HmFveJYkd8uEZKW9J+8s8UgljDmkEEXBBuCDzC5mtdGRrTi9M/SHgQBAEAQBAEAQBAEAQBAEAQBAeVXTtq6VzHi7XtLXDsRZZ1zcJKUe6PGk1pmT4tkuqoaghjDKz6XNte3ccQfRWyjimPZHcnyvyZGzx5xfRbJfKGTJW17ZqhuhrCHNYSCXOHAm3AA79dlx8Q4pW63XU9t+Jtpx3vmkaMq4dxTcz5+iwarMUbPeyN2f8VmtPS9jc9Ry632W+uhyW2WDh3ALMmCsnLli+3Tbf8Hhl/2jR4hWCOaP3RcbNcHXbc8jsNPjv5L2eO4raNud+HLKa3ZVLm13WtP3eZeVzlaIXGMyUuGS6JHanDi1rdRHjyC7cfAvuXNFdPX0OHJz8el8s318u57YPj9Pi5tE/wCIcWEWNvDmPBYZGHdR1munmZ42bTkdK318ih+1GqdJjTIz8rIw4D+5xcCfs0D79V0YcUoNlx4LXFUufi3r4a/kpq7CYNN9ltU6XCZGE3ax/wAPYOFyPvc+ajcyKU0/MrXGq4q2Ml3a+hdVxkMEAQBAEAQBAEAQBAEAQBAZrnXMck2IvhjcWxsOl2k2LnDjcjkDtbsrLw3BhGtWTW2/kVXinELJWuqD0l5eLK/h+LTYdOHRyOB5i9wfEcCpG7GqtjyzRG05d1MuaEma9g9eMTwyOUC2oXI6EbEeRBCp+RS6bZVvwLrjXK6qNi8T84zijMIoy9/g1o4uPRYV1ub0jDLy4Y1fPP8A2U458m99/tR6elzf73t6Ls/SR13K7/yG3m/Yte/fx/wW7BcXZjNFrZsRs5p4tP7juuSyt1vTLDhZleVDnj715GCVOo1Ltd9eo6r8dV9/VSC1rofZa+XkXJ2109h5L0zN+bUSUuWdbt5Gwajf84Zf9QuCqCnbGPg2l8z5HxCardsq+y5mvdvRjj3mR5JNyTck8yeauySS0j51KTk9vue1DVOoaxkjPmYQR5cvPgsLa42QcJdmbKbZVTU490aTnTK/9eia+MhsrAQL8HN/Kem/A9z12p+Pf+W9PsfUuHZ/6duMv2v5esosOSq6SfSYdI/M6Rlh32cT9gu15NSW9k5LimKo75t+5/waXlrBG4DhYjB1OJ1Pda2px/QCwA8FHXWuyWyt5mU8mznfReHsJZajlCAIAgCAIAgCAIAgCAIAgMnzphT8Pxp7iDokcXNdyu7cjxBvt0srbw3IjbSo+MehTeKYsqr3Lwk9/HuQcMTp5Q1oLnE2AAuSV3SkorcnpEdCEptRittmxZdoDheCxRH5mj4vFxJPqbKm5dyuulNdn9uhecKh0URrfdffqVr2kNdeA/T8Q8/h/ZbMPXUg/wARKX/W/Dr9ikrtKyXL2btd+JmP06Wg+Nzb0uuPM1pFk/DylzTfh0PfM+QI8XrDLE/3T3bvGm7XHr1BPPqtFd7itM+k8O4/ZjVqqyPNFduvVer1nNgPs6jw+rbJUSCTSQWsAs2463PxeG3msp3uS0kbc38Rztg4Ux5d+O+vu8i+PaHtIO4OxC509PaKw1taZmmNZInp6kmAe8jJ+H4gHNHQ3Iv4hWbG4tVOP/a9MquVwa2M91La+nxOrLWS5RWtkqAGtabhlwS4jhe2wC1ZvFYcjhV1b8TdgcIsU1O7ol4GhKullCAzPOuepYcQdBTEMDDZ8lgSXDiBfYAcOtwuuqhNbkXDhHAqpVK7IW99UvV6yGwbP1XQ1QMj/ex/U1wF7dja4Pos5URa6Ejl8AxbYNVx5ZeDX3X9ZsFJUNq6VsjDdr2hzT2IuFxNaeig21yrm4S7p6+B6rwwCAIAgCAIAgCAIAgCA85oW1EZa9oc08Q4Ag+RWUZSi9xemYyjGS1JbR40mGw0TrxxMYTxLWAH7gLOy+2xanJv3muvHqr6wil7Ec+L47T4OB76QNJ4NAJJ8hvbutmPiXX/APnHZlOyMP3M4IsXoc0RGHXcncNcC11xzbcbkdlttw8jG9OS6fH4mi2NOVB1y6/3wIw5Bb77/fOnpo3t43t6LH9Y9diH/wCOx5v/AEevZ99/YtOF4dHhdII4xYcSTxJ6nuuac3N7ZN42NXjw5K10/vc8Mw4n/SMHkltctFmjq5xAHlcrOir82xROlLbMcraySvnL5XF7jzJ/ToOwVhhCMFqK0bSz5Cx6SmxNsD3F0b9mgm+h1trdAbWt3uuLOx4yg5pdUYyRpyhTWUfPmapMNqBBAdL7Xe+1yAeAF9r87+Hl241CkuaRN8M4fC2P5tnVeC/kpdJmaspJ9QnkJ5h7i9p7WdwHhZdkqK5LWiYng4848rgvctfT7ms5bxcY3hLZQLE3D29HDiPDmOxCira/y5cpVcvGePa4fD2GLZqon4fmCZrwbl7nA9WuJIP2P6ruqknFaPo3Db4XYsJR8kvelpoi2tL3AAXJ4ALM7W0ltm/Zbo3UGAwRv+ZrAHdjzHleyjJvcmz5fxC6N2TOyPZtkksTjCAIAgCAIAgCAIAgILHsyMwqTQBrk4kXsG+J69lnGGyH4jxevEfIlzS+ntIyhzrqmAljs0/U03t5c166zgx/xGnLVsNLzX8Fua4PYCDcHcEcwtZZk01tGF4pWOxDEZJHm7nOJ8ByHgBsr5RVGquMI9kRE5OUm2c8chikDmkhwNwRxBHAhbGk1p9jzsbjhtZ+IweOV9m6o2vcTsBdoJ8lRb61C2UF4Nr5kqrEoc8ui1sjZM30zJbXeR+YN29Tf0WHIyKlx7EjLW2/Xo9MagbmTLr2xOB1AFh/uaQbHpe1t+q2Y9n5VqkyVx8iu6KnW9oyGeJ1PMWvBa4bFpFiFYk1JbR1FlyFg763F2S2IjjNy7kXcgOu+58O64s65QrcPFmMn0NUUGazKPaRQOpswGUg6JQCDy1NaGlvjZoPmpTEmnXryLTwi5To5PGP3e9lUJsF1Eqa37O8PfQZdGsEGR5fY8QCGgfcNv5qKypqVnTwKnxW6NmR6Pgtf34ktjGB0+NRgTRh1uB4EeBG/ktEZyj2NGLnX4r3VLX0+BwYPlehwqq1RsaZBwLn6iPAE7Hva6ylbKXdm3J41k5K/LnPp5LS+OiwLWR4QBAEAQBAEAQBAEAQGWY9qGNTauOs/a+3pZdEex864jzfqrObvt/4+RwLI4jTsr6hgMWrjp28Lm3pZc8u59B4Tzfo6+by+Xh8ij5qyVNHXOkp262PJcWgi7SeOx4i/C2/ba6smDxWtwULXprx8zK7HlvcTiwXJNTXVI96wxR/UXEXI6NHG/c7ePBb8nitNcfQfNL+9zCGPOT69EW/PD/w2Exxs2YTaw6NGw/nRVeLcpNvucH4hslDHjCPZv6FHW0pxZ8hTubib2fS5hJHcEWPqQtVi6Fh/DtslfKvwa38NF0qKOOpN3xsdbhqaD+oWEZyj2ei4lWzRnJuCz+5hY1z2j4r7NZ0FhxPbaylsHhbyI/mWPSfxZzXZHI9LuRWFe0V/wCIAqI2aDxdGCC3vYk38vVdd/BI8u6pPfr/AKjVDLe/SRfainixKks9rZI3AGxFwRyP/tV7coS8miRrslB80HpldlwrCsBqQ57Y2v4gPe55HcNcTbxsumMsi1aW2jrnxDKsjyuXT2JfRFgoMRixGPVFI14HHSeHiOI81zzrnB6ktHDormeMVfAWwsJbqGp5HEi5AHobr2uO+pWuP5069UQetrb/AIKW06TcbHktpUk2ntGhZPxR2I0BDzdzCBfqDwv32I8lpmtMvPBM2eRS1N7cfp4E+sCZCAIAgCAIAgCAIAgIXHcux4s7VfQ/hqAvcdxz8VlGTRE8Q4TVlvm3yy8/5IyhyU2OYGWTUB9IFr+JusnYcGP+HYRlu2W15JaLY1oa2w2A4BayyJJLSOTE8Tiwqn1yu0jgOZJ6ADcrdRRZdLlgtmq/IrojzWPSISmz1STz6T7xn9zmi3oSR5hd0+EZEY7Wn7H/AII+vjONKWnte1f5JfGMOZjGH6b8bOY4b2PI9xv6qNW4s6c7EhmU8jfrTKRJlWqZLYMB/uDxb1IPotvOioS4HmKXKo79e1r5/wAFlwLDI8vQl00jA9+1y4AAdBfj38l4ozseoJssXDcCGBFytkuZ/wB0tk/DM2eO7XBw6tNx6LXKMovUlomIyjJbi9mI4+x0eOTh/wA3vX383Ej0IKu+K4uiDj20voRViam9+ZwLoMDYMHndhuSGPcPiZBqAPYEtH2sFTcpRszJJdnL/AGS1CfJFMyeed1TOXvJc5xu4nmVMxiorS7HUdeBYi/C8VZI0nYgOH5mk7g/zjZa7q1ZBxYa2jQc74S+pLZmAu0jS8Dja5INvM3VfhLXQqnHsCdurq1vS0/Z5lKa0vdYbk8AFtKmk29I0PKGFuw2gJeLPebkdAOAPfcnzWmctsvPBcKWNS3P90v6ieWBMBAEAQBAEAQBAEAQHlVVLKOmc97g1rRdxPIBepb6IzrrlZNQgttmf1ntRayoIipy5g+p0mknyDTb7rpWM9dWWmr8LScd2WafqW/ui1ZYzNDmKnJZdr2/PG7iL8x1Hf9FpsrcH1ITiPDLcKSU+qfZ/3syke0GpdNmJzT8rGtDR4gEn7m3krNwmuMcdSXd7/g+f8ZslLJcX2SWvqVpSZEmn+zuodPl+zt9Dy1vhZp/5FVbi8FHI2vFb+qLfwWyU8bT8G19H9yfxGq/A0EkhF9DS63WwvZR9Nf5lkYeb0SN1n5dcp+SbMYrqx+IVRkkcXOPE/sOg7K61VRqioQWkiiXXTum5ze2zuyziz8JxRjgTocQJG8i0n9Re4WjNxo31NPuux04GVKi5NPo+5oWY8pw46/WSWSAW1t5j+4c/Q91XcPiNmMuVdY+X8FxtojPr4kbhPs+hpKgOlkMtjcN06W+YuSfC9l038asnHlguX37ZrhixT23sttTA2ppnMcPhc0tI7EWURGTi00dRkWMZXqcLqCPdukZ9L2NLgR3t8p7H1U/VlV2Le9M2qSZIZVypNW17HyscyJpDjrFi624AB3t1PRasnLhGLjF7bPHItGM55gw6pLGNdK5ps4ggNB6X5nwC4acCc1zPoYqOzoy9mmnxmo0hvu5fyuA+LrYjj4bFYX4c6lvujF1pPeixLkAQBAEAQBAEAQBAEAQFO9qrnjK403sZW6/8bO49tWn0W/H1z9Sf/Dah+s9LvyvXt6fbZj67y/Fq9mbnjNsengWv1/46T/y0rRka5CE/EKj+hlzd9rXt3/GzQM35X/rREkZAlaLWPBzf2IvxW3h/EP0/oT/a/kfJ+JcN/U6nB6kvmVKmyTWSzWcxrBzcXg+jSSpafFsaMdp79z+5C18GyZS1JJL2r7GiYZRxYHhjYw4BreLnEC5PElVzIvlfY5y8S14mL+VBVVps9p2x4nQPYHBzXtLSWkHiLcvFYVzdc1Jd09my+huLrmmtoyDFsIlwmpLZGkb7Ot8Lh1B/ZXHHya7480GUTJxLceTjNe/wJHKmX5MUxBji0iJpBc4iwNvpHUn0XPn5sKa2k/Sf92dXDsGy61Sa9Fdf8I1hVIuRS8+5hkoXiCI6XFup7hxAN7AdOF7+CmuFYULE7bFteCILi+fOrVVb033ZRocSmgm1NleHddZ9evmp6VFUlyuK17CvRyboy5lJ79pqeUsZONYVqd87TpfbmRbfzB+91VM/FWPbyrs+qLfw7LeTTzPuujOzHJHQ4LO5nzCN5b4hpsuelJ2RT7bRILuYirKbT3oZHQ10bmfMHtLfG4ssJpOLT7Bm6qsGkIAgCAIAgCAIAgCAIDnr6NmIUbo5BqY4WcP5wPO69Tae0babp02KyD00Z1V+y5/4j/Snbo/vabgeWx9F1LJ80Wyr8UQ5f+yt79T6fPt8y2ZTypFlyIkEvkds55FtugHIfr9lostcyD4nxWzOaTWorsvuywrWRR8c7S0k8Ah6lt6RgmY8ckx7EXSPJ03Ohl9mt5C3Xqeakq61FH0/Awa8SpQguvi/NnlgeMS4JXtkicRYjU2+zh0P82Xs4KS0zLMw6sqp12L2Py9aN9hlE9O13JwBF+hF1G9j5fODjJxfh0Mwx/PU9VVkU7vdxA2aQAXPtzNwbA8gPPopKrFil6fVllxeE1Qgnaty+S+B+suZ6np6xrah3vI3GxcQA5l+ewFwOYO/6Ly3Fi1uHRnmXwqqUG6lpr5nd7R8Ne2tbOBdhaGuP5XAm1+xv6KQ4PfHkdT79z5nxzHlzq1dta9hS1NkAalkLDH4fgxLwQ6R2rSeIbYAX78/MKq8VvjbdqPZdC4cIx5U0en0beztqMz0UUxY6dl+B5jwJAstEcDJkuZQZIO6tPWypYnkQ1EnvKSSN0bt2tLuAP5XAEOH83XZDP5fRtTTR0RmmiQyxkg0FW2WdzXOabsY25APIkkC5HS3FacnO548sEHIuqjTAIAgCAIAgCAIAgCAIAgCAoub8yyMrXQwuLA3Z7hxJ6A8gO2913Y9Ca5pFX4txSyNjpqetd2QNBmGpopw4SucObXuLgfvw8Qt8qYSWtEVRxLJqlzKbfqb2abh1W3E8ObIODxw6ciPI3CjJxcJaZd8bIV1cbY+JiWZsvS4BXua5pMZP+nJbZw5b/mtxH7LvrsUkfU+H8QqzK1KL9LxXl/j1/c88vYDNj1aGRtOm/xvts0c7nr0HNe2WKKM87PqxK3Ob6+C8X/fM3R9MPwBjbsNGkdtrBRyfXZ8z/Mbs5357MImhdTTFjxZzSWuHQhTiafVF4jJTSlHsz7BTurJ2xsF3POlo7lG1FbfgJTUIucuy6m9MiApw07i1jfnsoPb3tFEnqTe/E5IcGpoJtTYYw7kQwbeG23kt0sq6S5ZTevac0cSiMuaMEn7EQPtIxF9FgrWMJHvXaXEflAJI89h4XUhweiNlzlL/wCV8zzKm1HS8TLFaiOLr7McRezEnwXuxzS4Do4EbjxB38AoTjVEXWrfFPXuOvFm+blNLVZO8IAgCAIAgCAIAgCAIAgCAIDLc30LqPHHkj4Xkuaet+P2P7KUx5qUF6ijcWx5VZMm+0uqIVoLnWG5PALcRqTb0jWctUTsPwSNjvmAJI6FxJt5Xsoq6SlNtF+4dRKjGjCXf+epGYxnSloJzHZ0pGztABAPS5IB8rroqwbZrm7Hek+6OzAMx0+M/DHdrgL+7cADbqLbEeC1X4tlXWXYS33ZNLnMSHxnLNNjMmqVnx/naS02724+a213zh0TOvHzrqFqD6eXc+4NlumwZ+qJnxH63EuNugJ4eSWXTn0kxkZt161N9PLse+OYo3CaEvIuSbNb1P8A0tcVtkPn5scSn8x9X2S9ZR5M01T5b+8A7Bot6gn1W7kRUJcczHLalr1aRIzn/wDaYK6M2bPGQ5vR3EeQN7Hpsey6cLJ/S28z7PoywYGd+vrcZLU4/P1lHmwKqgn0mnlv2jLh5FoIPkVaI5lEo8ymte1L6m51zT1pl9yFll+FF00wtI5ulrOOlpIJv3Nh4W7qA4rnxu1XX2Xj5nZj0uHpS7lyUMdQQBAEAQBAEAQBAEAQBAEAQHjV0kdZFpkaHN6EX/8Ai9jJxe0a7aoWx5ZpNHLRYJT0MuqOJodyPEjwve3ks5Wzl0bNFODj0vmhBJ/3zPmYp3U2AzvZ8wjcQRy24+XFZY8VK2Kfmdi7mKKyG07cGndTYvC5nzCRtu9yAR5g281quipVyT8g+xtFdVNoqN8juDQSfLkq5GPM9I5LrVVW5y7JGX4jmGorpy4yOaOTWOLQB5cfEqThRCK1opGRxPIulzczS8k9EvlPM0ra5sUri9jzYF25a48N+YJ23Wm+iPLzRJDhfFbVaqrXtPp17p+BMZ9gdJQMeODXfF21cD9xbzXJX3Ov8RVSlRGa7J9feUVbinFoyFTudiD3/SGaSe5I29FqsfTRYvw5VJ3Ss8EtfFr+C9LUXAIAgCAIAgCAIAgCAIAgCAIAgCAIAgPzLGJYy1wuCCCDzB4heptPaBm2LZBnhqCYC17DwBdZw7G+x8b+SmKuIQa9PozYpEplXJTqGsbNUFpLd2Mab2PUntyA7G605Ocpx5IHjkWnHKQ1+ESxt4ubt4jcfoo+uXLJM48yl3UTrXdoyJ7DG8gggg2IPIhS6ez57KLi9PuSmWKB1fjMYaNmuDnHoGm/ray1XTUYPZ3cMx5XZEddk037jVZGCVhDgCDsQRsQoovcoqScZLaZByZRpXy3s4D8odt/36rPnZES4FhuW9NerZMUlKyjgDI2hrRyH83PdYN7JSmmumChWtJHshtCAIAgCAIAgCAIAgCAIAgCAIAgCAIAgCAIAgOCuwanr33kia49eB+43KzjZOPZnLdhUXPdkE2dFHRx0UWmNjWDo0Wv49V5KTl1bNtVNdS5a4pL1HusTaEAQBAEAQBAEAQBAEAQBAEAQBAEAQBAEAQBAEAQBAEAQBAEAQBAEAQBAEAQBAEAQBAEAQBAEAQBAEAQBAEAQBAEAQBAEAQBAEAQBAEAQBAEAQBAEAQBAEAQBAEAQBAEAQBAEAQBAEAQBAEAQBAEAQBAEAQBAEAQBAEAQBAEAQBAEAQBAEAQBAEAQBAEAQBAEAQBAEAQH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7650" name="AutoShape 2" descr="data:image/jpeg;base64,/9j/4AAQSkZJRgABAQAAAQABAAD/2wCEAAkGBxEPEA8PDhIQEQ0VFhUQDxAQDhQUEBQQFREXFhUZGBYYHCggGB0lGxgVITEhJSkrLi4vFyAzODMsNygtLisBCgoKDg0OGxAQGiwkICQ0Li04LCwsMSwsLDYsLCwsLCwsLCwsLCwsLCwtLCwsLCwsLCwsLCwsLCwsLCwsLCwsLP/AABEIAK0BJAMBEQACEQEDEQH/xAAbAAEAAgMBAQAAAAAAAAAAAAAABgcBBAUDAv/EAEMQAAIBAgEFCwkHBAIDAQAAAAABAgMRBAUGITGBEhMWIkFRVJGSodEHFBcjMkJSYXJTcXOjscHiM2KTstLwgqLCJP/EABsBAQACAwEBAAAAAAAAAAAAAAAFBgEDBAIH/8QANREBAAIBAQYFAgQFBAMAAAAAAAECAwQFERITQVIUFSExUaGxFmJxgTJhkcHRIlNj4SMzQv/aAAwDAQACEQMRAD8AvEAAAAAAAAAAAeTqx+JdaM8MvE3rHVnfo/FHtIcMnMr8wb9H4o9pDhk5lfmDfo/FHtIcMnMr8wb9H4o9pDhk5lfmDfo/FHtIcMnMr8wb9H4o9pDhk5lfmDfo/FHtIcMnMr8wb9H4o9pDhk5lfmDfo/FHtIcMnMr8wb9H4o9pDhk5lfmDfo/FHtIcMnMr8wb9H4o9pDhk5lfmDfo/FHtIcMnMr8wb9H4o9pDhk5lfmDfo/FHtIcMnMr8wb9H4o9pDhk5lfmDfo/FHtIcMnMr8wb9H4o9pDhk5lfmDfo/FHtIcMnMr8wb9H4o9pDhk5lfmDfo/FHtIcMnMr8wb9H4o9pDhk5lfmDfo/FHtIcMnMr8wb9H4o9pDhn4OZX5h9JmHqH0GQAAAAAAAAAA0Ms49YahUrP3VxVzyeiK67G3BjnJkisdXNq88YMNryqCcnJuUneTbbfO27stdaxWIiFBvabWmZ6vmxl4LGQsAsAsAsAsYCwCxkLALALALALALGAsZCwCwCwCwCwCxgLGTe3Mj4B4ivTorVJ8Z80Fpk+o0anLGLHNnXo8E581aR1XBSgoqMUrJJJLmSKpM753yvtaxWIiHoHoAAAAAAAAAAIF5Q8o3lTw0XoXrKn3v2V1Xe1EzsvB6Tkn9IVnbup9Ywx+s/wBkNJhWwyAAAAAAAAAAAAAAAAAAAAAAAAAMEJ15O8m2jUxMlpl6un9K9p9dlsIPambfaMcdFp2Fpt1ZzT19ITUilhAAAAAAAAAADxxNeNOEqk3aMU5SfySuZrWbTFY6teTJGOs3t7Qp3H4uVarUrS9qcnL7lyLYrLYWzDijHSKR0UDUZpzZLXnq8Da0Mwi27RTcuRJXb2IxaYiN8vdaTad0Rvb9HImKnpjQq2+cGv1NFtXhj3tDqrs/U29qS9ODmM6PU7vE8eNwd0PXlmr7JZ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k4OYzo9Tu8R43B3QeWavslmObWMbS3iau7XdrK/K9JidbgiN8Wh6rsvVb/WkrPydhI0aVOlH2YJRXztrZXMl5vebT1XTDijFjikdG0eG0AAAAAAAAAAIj5QMpbilChF8ao7y/Dj4u3UyT2Zg4snHPtCC25qeDFGOPe32V8lfVr1JLW2T0zEesqpETM7oTDIOZbmlUxbcI61Si7Sa/ufJ9y0kPqNpbpmuL+qwaLYs2iL5/6f5TTA5PpUI7mjThBf2x0v73rZE5Mt7zvtO9YsWDHijdSsQ2zw3AAAAAAAAAAAAAAAAAAAAAAAAAAAAAAAAAAAAGGwKjziyj5ziKlS/EvuKf0R0Lr0vaWjSYeTiiqia/Uc/Pa8e3tCV5lZvKEY4qvG9R6aUX7sX71ud9yIvaGsm88uk+ic2Rs6KVjNkj1n2/kmRFp8AAAAAAAAAAAAAAAAAAAAAAAAAAAAAAAAAAAAAAOBnllLeMNJRdqlT1cOfT7T6r9aOzQ4ebljf7R6ozaup5Onnd7z6IJmxk7znE04NerXHqfTHk2uyJrW5uVhmY6+kKzs3T8/PET7R6rZSsVleWQAAAAAAAAAAAAAAAAAAAAAAAAAAAAAAAAAAAAAABWGe2Ut+xLhF3p0lva5nP3312X/iWHZ2DgxcU+8qbtjU83Pwx7V9P8ux5N8OtziKvLeNPYlun+qOTa1v9Va/ukNgY44b3/ZNyJWIAARjLmd9PDTdKEHVqR9u0tzGL5r2d3sO/T7PvlrxTO6ERrNsY8F+CscUuZ6QH0f8AP/gdPlM9/wBHF+IP+P6npAfR/wA/+A8pnv8AofiD8n1PSA+j/n/wHlM9/wBD8Qfk+p6QH0f8/wDgPKZ7/ofiD8n1PSA+j/n/AMB5TPf9D8Qfk+p6QH0f8/8AgPKZ7/ofiD8n1PSA+j/n/wAB5TPf9D8Qfk+p6QH0f8/+A8pnv+h+IPyfU9ID6P8An/wHlM9/0PxB+T6s+kB9G/P/AIDyme/6H4g/J9UmyDlKWKoqtKnvak3uY7vdXina97LluRufFGK80id6a0eotnxRkmu7e6ZpdQBhgQ3G59KnUnCFHdxjJxU99turOzdtyyUx7LtesWm27er+bbsUvNa03xH83j6QH0f8/wDgbPKZ7/o1/iD/AI/qx6QH0Zf5/wCA8p/P9Hn8QT/t/X/o9IEujL/O/wDgZ8p/P9D8Qz/t/X/ph5/y6PH/ADv/AIDyn830Y/EFuz6pXkTGyxFGFacFTctKjut1xb6Hey16yLzY4x3mkTv3J7S5rZsUXtG7f0dA1OkAAAAAAAAAAObl7KCw2HqVfeStBc83oj3m7TYpy5Iq5dbqIwYbXVE227t3b0t875S1xHDG6FBmZmd8rB8nDXm9X8TT2IkBtWP/ACx+i2bB/wDRb9f7JcRqcAAFN5XoSp160Kie73cm78qbuntvctWntW+Ks1fP9ZjtjzXi3y1DocoAAAAAAAAMD3wGFlXq06MPanJR+6+t7Fd7DXmyRjpN56N+nwzmyVpHVcOFoRpwhTgrRilGK+SViqWtNpm0r/jxxjrFY9oe55bADjZ1ZR82w1SSfrJerp/VLl2K72HTo8PNyxHRwbR1PIwTbrPpCqS0qLM7/UDAAA3MkYF4ivSor3nxnzQWmT6jRqcsYsc2dWkwTnzVot+lBRSjFWikklzJaiqzO+d8r9WsViIh6GHoAAAAAAAAAAK+8oWUd3Uhh4viw48/ra0LYv8AYm9l4N1ZyT19lW27qd94xR09ZREl1eTLyc4u069F+8lUj960P9UQ21aelb/ssewM26b4/wB09IZZwABxM4sgQxkOSNZexUt3PnR1abVWwW9Pb4R+u0FNVX4tHtKssbg6lCcqVWLjNa1yNcjT5V8yyYstclOKs+imZ8F8N5pePV4GxoAAAAAAADAmXk8ydeVTEyWiPq6f3vTJ9VltZEbUz+2OP1WTYWm9bZp/SE9IVZgAwK2z8yjvtdUYviUlZ/iPS+pWXWT2zMPBj456qjtvU8zNy49q/dGSUQYAAAhOfJ3k60amJktMvV0/pT4z67LYQe1M2+0Y46LTsHTbqzmnr6QmxErCAAAAAAAAAAGvjcTGlTnVn7MU5P7kj1Ss3tFY6tWXJXHSbz7Qp3F4iVWpOrP2pycnterZq2Fsx0ilIrHR8/zZbZbze3V5GxqbeSce8NWp1o+6+MueL0SXUaNRh5uOaOrSZ5wZq3hb2GrxqQjUg7wklKL50yq2rNbcM9F9x5IyVi1faXsYewDAHKy9kSnjIbmfFqL+nUS0xf7r5HRp9TfDbfX2+HFrdFTVU3W9+kqvylgKmGqOlVVpLU/dlHni+VFjw5qZa8VVL1Omvp7zW8f9tY3uYAAAAADMIOTUYq8m0klytuyR5tMViZl6pWbTER7yt/IuAWHoUqK91cZ88npk+tsqmfLOS83lf9LgjBirjjo3zU6RgaWVscsPRqVpe7FtLnlqS2uxsw45yXikdWjU5ow4rXnop+pUc5SnJ3lJuUn/AHN3Za61isRWHz+95tabT7y+T28AAD7w9GVScKcFecmoxXzbseL3ilZtPRsx45yXitfeVxZOwkaFKnSh7MEor5872vSVPJeb3m09X0HDijFjilejaPDaAAAAAAAAAAEN8oWUdzThhovTPjz+iL0La/8AUlNl4eK/MnogNu6jhpGKOvugRPKoAAJNmjnH5s95rP8A/O3xZfZyf/yRmu0XM/109/unNl7S5E8vJ/DP0WNCakk07xelNamiAmNy2xMTG+H2GQABzctZIp4unuKi0rTCa9qMudeBuwZ74bcVXLq9JTU04bf1+FX5WyXUwtR06q+ia9mcedeHIWTBqKZq8Vf6KVq9Jk09+G8fv8tI6HIAAAACSZiZO33E77JcSkt18t8d1H93sRG7SzcGPgj3lNbF03Mzcc+1fussr64AGGBBfKJlHTTw0Xq9ZUt1RX6vqJjZeD3yT+itbd1Pthj9Z/shZNK0AAAISzyf5N3daWIkuLT0Q/Ekv2X6kVtTPupGOOqf2HpuPJOWf/n7rDIJawAAAAAAAAAA+ZySTb0LW2GJnd6yqDLmUPOcRVq+63aHygtEfHaWnS4uViiv9VC12o5+e1+jROlxgAABJM1s5XhmqVZuWHep63T+a518iN1uhjL/AK6fxfdNbN2pOCeXk/h+yxqNWM4qUGpRavFp3TTIC0TE7pW6lotHFX2eph6AAGjlbJlPFU3Tqq61pr2oy5GmbMOa2K3FVz6jTUz04Lquy3kepg6m4npg/wCnUS4sl+z+RZNNqa5q749/hS9bor6a+63t0lzzqcIAAMwQtPNLJvm+Gppq1SfrKnPeWpbFZFY1mbm5ZmPaPRedmabkYIiY9Z9Zdw5UiAeWIrKnGU5O0Ypyk+ZJXZmtZtO6Hm9opWbT0U7lHGSr1alaWuTvbmXItisi2YccYqRWHz/U5pzZbXnq1za5wAAMb4j1kiPVbWbmTvNsPTp+/bdVPrlpfVq2FV1Wbm5Zsv2g0/IwVp16uqaHYAAAAAAAAAAEbz3yjvOGcIv1lX1a59z776tG07tn4OZl3z7R6ona+p5WDhifW3p/lWhZFLAAAAAMDvZs5xywktxO8sM3pjrcG+WP7o4NZooyxxV/i+6W2dtK2nnht61+yy8NiI1YxqU2pQavGSehor1qzWZiVxx5K5Kxas74l7GHsAAaeUsBDEU5UqqvF9afI1zM2YstsduKrRqMFM9JpdU+Vcnzw1WdGetanySi9TX/AHnLRgzRmpF4UXVaa2nyTSzUNzmAOtmtk7zjFU4tXhH1lT6Y8m12XWceuzcrFP8AP0SOzNPz9RET7R6ytdIrC8PoyyMCJZ/5R3ujGhF8eq+N+HHX1u3eSOzcPHk459oQe29Ty8PLj3t9lelgVEMgAA7uZmTt/wAVFyV6dP1kua69ldenYR+0M3LxbuspXZGm52eJn2r6/wCFopFdXVkAAAAAAAAAAAVZnjlHf8TNJ3p0/Vx5rp8Z9ejYWPZ+Hl4omfeVK2vqedqJiPavp/lwzvRQAAAAAADs5uZfng5W0yoN8eHN/dHmf6nDrNHGaN8fxJPZ+0L6a26fWs9FnYPFwrQjUpSUoS0pr/uhldvS1LcNo9VyxZaZaxak74bB5bQABEvKBk7d0Y14rj03aXzpydn1Oz6yS2Zm4cnBPtKE25puPDGSPev2V6WBUACxcwcnb3QdaS49V3X4a9nr0vaiu7SzceXhj2j7rjsXTcvDxz72+3RKiPTIBhgVJnJlHznE1Kid4J7in9EdXXpe0tGjw8rFEdZ9ZUTaOo5+e1untDmHU4AAAAs3MjJ28YaMpL1lV75L6fcXVp2la1+bmZf5R6LrsjTcnBvmPW3r/hIjiSoAAAAAAAAAAcrOTKPm2GqVF7dtzT+uWhdWvYdGlxc3LFXFr9RyMFr9VSlpUSfX1DLyAAAAAAAAdXIGXKmDnePGpP8AqU76H81zM49VpK54/n8pDQ6++lt6etesLQwGMhXpwq0neEldc/zT+aK5kpbHaa294XXDmrmpF6z6S2jw2gGplPDqrRrU3qlCUeuLPeK01yRLTqaRfFas9YlTUWW5893NvJWCeIrU6K952b5o65PquadRl5WObN+kwTmy1xx1XBRpqEYxirRSUUuZJWRVJmZnfK/1rFaxWOj1D0AcDPLKPm+FnuXapU9XDn0rjPYr9x2aHDzcsfEeqN2rqeTp53e8+ir0WZSN4GAABv5Byf5ziKVL3W91P5U46ZeG05tXl5WKbO3Q6bxGetOnVb0Y2slq5CrL5ERHs+gyAAAAAAAAAAFd5/5R3ytGhF8Wmry/Ekv2VusnNl4eGk5J6qntzU8eSMUe1fuihLIEAAAAAAAAAALOzHw06eEju005SlOKetRerR87X2la1+St888K77IxXx6aIt19UhOJJgHxXdoyb1JN9xmvrMPGSd1ZlSSZcIj0fOrTvmU48neTv6mJktfqqd+ZaZPrstjIXamffMY46LLsLTek5p/SE4IhYwDDArLPfKO/Ylwi706XEXM5+8+uy2Fh2dg4MfFPvKm7Z1PNz8ET6V9P36o8SKHAAAwQn3k9yduac8RJcab3MPoi9L2v9EQW083FeMcdPutmwtNw45yz1/smJFp4AAAAAAAAAAAHJrZvYWcpTnRjKcnupN3u29fKb66rNWN0W3OK+g097cVqRMy+eDOD+wh3+J68Xn75efLdL2QcGcH9hDv8R4vP3yeW6Xsg4M4P7CHf4jxefvk8t0vZBwZwf2EP/bxHi8/fJ5bpeyDgzg/sId/iPF5++Ty3S9kHBnB/YQ7/ABHi8/fJ5bpeyDgzg/sId/iPF5++Ty3S9kHBnB/YQ7/EeLz98nlul7IODOD+wh3+I8Xn75PLdL2Q+6Gb2Eg1KNCnulqbV7dZ5nVZbRum0vdNBpqTvikOokaHYyAA5GdGM3nCVpcri4R+qfFX6nRpMfMzVhw7RzcrT2t+39VU0aTnKMIK8pNRivm3ZFntaKVmZ6KRjpN7xWvvK4smYONCjTox1QSV+d8r2u7KnlvOS82nqv8Ap8MYccUjo2zw3AHOy7lBYahUq8qVoLnm9Ee83afFOXJFHLrdRGDDa6opNttt3b0tvlb1lqrEVjdCg2tMzvlg9PIAA9sFhpVqlOlD2pyUV8r63sWnYa8uSMdJvPRuwYpy5IpHVcWDw8aVOFOGiMUox+5KxU72m9ptPV9AxY4x0ilfaHueWwAAAAAAAAAAAAAAAAAAAAAAAAAADDArvPzK2+1I4em7wp6ZtanU5ti/UndmafgrzLdfZU9t6yMl+VWfSPf9WMwMnb5XlXkuJSVo/iSX7K/WhtPNw0ikdTYmm48s5J9q/dYxBLYAGBX/AJQso7qpTw8dUOPU+trirYv9ia2Xg3ROSevsq+3dTxWjDHT1lECYV0AAAQmPk8ydup1MTJaI+rp/U1xnsVltZD7Uze2OP1WPYWm32nNPT0j+6fEKs4AAAAAAAAAAAAAAAAAAAAAAAAAAGGBE8686FRUqOHd670SktKp+MvlyElotDOSeO/t90HtLalcUTjxzvt9le6fm31tsnvSIVTfMytjNnJ3m2Gp02uO+PU+uWl9WhbCr6rNzcs26L1oNPyMFa9feXXOd2gGvjMTGlTnUn7MYuT2IzSk3tFY6teXJGOk3n2hTuLxMqtSdWftTk5Pa9WzUW3HjjHSKx0fP82W2XJN56vI2NIAAzGLbSSu3oSWtt6jzMxEb5ZrEzMRC3sh4BYahSorXFXk+eb0yfWVTPlnLkm76Bo8EYMNaR0dA1OkAAAAAAAAAAAAAAAAAAAAAAAAAHnWm4xk0nJpNqK1tpakZiN87nm07o3oVljG5Trpxp4epRpvQ1Fpza+cr6NhK4Mekx+trb5+ivarNtDNHDSk1j6o5wcxnR6nd4khGt08ekWRE7N1XWkunm5m1XeJpyxFKUKUHu25Ws3H2Vr57dRzavW4+VMY53zLt2fszNGeJyV3RHqshEEtrIACM56069WlGjh6c5qTvUcbWUY6lr5XbqO7QWxVyceSd25EbXrmyYox4q79/uhXBzGdHqd3iTPjsHdCt+Warsk4OYzo9Tu8R47B3QeWavsk4OYzo9Tu8R47B3QeWavsk4OYzo9Tu8R43B3QeWavsl2M1M3KyxMamIpShCC3a3VtM9UerXsOPW63HbFw0nfMpHZmzctc8Xy13RH3WGQi1AAAAAAAAAAAAAAAAAAAAAAAAAAAAAAAAAAAAAAAAAAAAAAAAAAAAAA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08546" name="AutoShape 2" descr="data:image/jpeg;base64,/9j/4AAQSkZJRgABAQAAAQABAAD/2wCEAAkGBxQQEg8OEhASFBAQEBYWFBQUFRAVFxUQFRYWGBQRFhYYHCkgGBolGxoVITIhJSkrLi4uFyAzODMtNystMSsBCgoKDg0OGxAQGiwkICQvLCw3NCwsLCssLiwsLCw0LCwsNywsNC0sLCwvLCwrLCssLCwsLC03LCwtLzQsLCwxNP/AABEIAIEBhQMBIgACEQEDEQH/xAAcAAEAAgMBAQEAAAAAAAAAAAAAAQcEBQYIAgP/xABPEAABAwIDBAQGDAoIBwAAAAABAAIDBBEFEiEGEzFBByJRYRQyVHGBsVJTYnJzdJGSoaSy0xUWIzM0QrPB0dIXJDVDRHWCk1VjZKK0wsP/xAAZAQEBAQEBAQAAAAAAAAAAAAAAAQIDBAX/xAAkEQEBAAICAgEEAwEAAAAAAAAAAQIRAyESMQQFQVFhE7HwIv/aAAwDAQACEQMRAD8AvFERAREQEREBERAUFSoKCEREBERAREQEREBERAREQEREBFye0W3tPSF0bPy8w4tYRlaex7+A8wuVwWI9IFbMTlkbC32MbW8O9zrk+iy55cuOL28HwOblm5NT9rpRUnhe3VZC8OdMZmX60cmU3HOzrXafo7irloats0cczDdkrA9vvXC4v3q4cky9M/J+HyfH15er+H7oiLbyCIiAiIgIiICIiApChSEEoiICIiAiIgIiICIiAiIgIiICIiAiIgKCpUFBCIiAiIgIiICIiAiIgIi1uP43FRRGeZ1hwa0eM9/JjRzPq4lFktuoycQr46eN00zwyNnFx+gDtJ7BqVUe1u3ktXmhhzQ03DQ2kkHuyPFb7kekngtHtTtNJXP30zg2Nl93GD1Yx2+6dbi71DRbnZPo9mrQ2apL6amNi1oFppR26/m2nvFz2DQrhcss+sfT6/HwcXxZ583eX4cZNVxx6Oe1vnIC/SKQOAc0gg8CF6CwfZulo25IKaNmmrsoc93e57rud6Sqq6TcMip64mJrWCeBkj2tAA3uZ7S+w4EgC/eL81jPi8cd7ej431G83L4XHUrlgVeewF/wfSX9gfkzut9FlRR7gSeQHEnsC9E4LReD09PT+1QsYfO1oBPy3V4J3az9Xynhjj+/9/bMREXpfBEREBERAREQEREBSFCkIJREQEREBERAREQEREBERAREQEREBERAUFSoKCEREBERAREQEREBERAVSbQ7H4vXTOnl8D5hjBPLljjvo1o3XmueJPoAttFMsZeq6cXLlxXyx9q82J6ORTuFVW7uSdrvyUbSXRR24PuQM7/OLDz6qw0UgJJJ1Ezzyzy8sruoVE7d4kKmuqHg3ZGRCw+5iuHf95k9BCvWVlw5tyLgi4tcXHEX5rix0X0fs6j57P5FjkxuU1Hq+DzcfDnc83BbAYV4TWwgi7ITvn9lmEZB6XlvoBV5LTbN7LwUAl3OcmUtzOeQTZt8rQQBpqT6VurJx4eMT5vyf5+Tc9RCKSoXR4xERAREQEREBERAUhQpCCUREBERAREQEREBERAREQEREBERBwB6Vqe5HgtUbOI4U/Ike2dyf0qU/ktV9W+9VUji74R/23LYbF0Hh1b4G95YzdvdmaBmu0NIGunNa05+VWQOlKDyWq+rfeqf6T4PJar6t94vkdF8XlU3zYv4LFxPo4EcckkdQ5xYwuyvY3rWF7AgixU6X/puKfpFoz4++iHMvjJA85jLtO/kuhnxSNtO+sa4SQtidKHRlrs7GtLuqb2PDtVGRu5rfdHFUTh2OU1zu4o5HMHsRJHJcDsHVv5yVbCZOs/pJhtfwSqta/8AhvvVvdlNo48ShdURNka1shjIkDQczQ0nxSRazgqhPin3p9S3/R/UuiwPEpGOLXiaYNcOLXOjiaHDvBN/QlhMq7DEduqaJ74oxLUPY4tduQ3I1wNi3ePc1pIOhDSbHQr8G7esP+Fn+WD+dcFE1sTAGgBkbNAOTWjgFuNg9nZMRpxWzVDomSPeI44WxaNY4sJc6RrrnMHcAOHfYNHla6cbdM8ln+WD+dT+PDfJKg+Y0/75AoGwTPLKn5KX7pYeKbJyQ5DBvagEkPDjTtc3TRwPUaRytx1CnS9ukwfaGCqJjY5zZQLmOQZX5e0cnDvaSF849jzaQxNMUkjpQ8gR7sWDMtyc7h7ILjocCrBUUUzaV7NzUsL3OkptIDdsviyEnqnhZbnbs/lqP4Of1wIbumTSbZskmgpzTTsdUPLGucYC0ODHP1yyE8Gnkv0xHaxsM0tOKaeQxFoc5hpw27mNfYZ5AeDhyXIUx/r2F/GX/sJV1mJ7KOlmmnZU5N85pLTE19i1jWaHMOTQhLa/P8dB5FU/OpPvU/HQeRVPzqT71a/GdmpYKeoqBVhxhgkkAMDbEsYXAHr9y1c0lmOcOIaT6QLq6iW2Ok/HUeRVPzqT71ZOF7VtnmjpzTTxmQOs55gLbtFyOpITw7lrKPZOV8ccnhgGdjXW3DdLgG3jrPwrZZ0M8dQ+p3m7DrNETWaubluTmKnS9sZ230eeZjaWpduZ5YS4eDgF8TyxxGaQG1weIW62exttaySRscke7lMbmyZL5gxj7jI4i1njmqxoT16//M63/wAmRdv0d/mqz44f2FOmiXt1ZC021e0UeHQsqJWSPD5mxNbGGXzvvbxnAW0PNbpV/wBNX6FTf5jB6nqRb6ZFR0kRRtc91HVZWAk/ovAan+9W32u2siw0QGWOV5qJMjBGGeNpxzOAHEKq8c/MVHwT/sldJ038cK+N/wDtEtaZ3dNwekmLyOq+q/er5PSZD5HVfVfvVwVRewANi5zW3te2Zwbe3Piu4PRp/wBa7/ab/MmobtfZ6T4PJKv6r96pi6Uaa/Xp6pjebi2F9v8ASyQuPoBWBiXRq5sUj46y8jWFzQ+IZSQL2NnXF+1VlhtbvmFxABBsbcDoCD9KaiW2PQNTtDAykfiLX7ynbHnzR2JLQbEAEjW+lja1iuTp+lmnkBc2kqyLkXtTDh55VzGAyn8DY9Hfqtku0dhfFCXAdlzr5ye1cdgf5o+/d+5NLcl/7KbSR4jHLLHHJGIpjE5smS+YMY+4yOItZ459q/baPaGDD4t/UPygmzWjV73exY3mfoHOyq3ZLbOLDKOtBaZKmStJiiFxcGngAkc62jLgjtNrDu5DEKqatlNVVvL3u8VvBrW8mNb+q3u4nnc3U0XLpaY6XKY6tpasjkbU4v8ALKtns90gMrphTw0VXcave4QZI28nPcJDa/IcTrYaG1ebI7Gy4gQ/WKkB1msLv7Wwg6H3x6o90bgXNg2EQ0cTaeCMMjbyFyXOPF7nHVzjzJ1Srjus5ERRoREQEREBERAREQEREBERB5pvq74R/wBore9Ev9rD4vJ6mLVSYPU5n/1So8d39zLwLjbkviPBqppzNpapru1sc4PygLbj93pFYOO1TIaeolkcGsZC8kn3p08/KyoLwGt9prfm1K+JcMq3Wz01W6xuM0c7rHtAI4rOm/L9PuCSzWjmGj1Lf9Gn6HtB8X/+c601PsviMwtFRS3dpmlAha2/6x3liR5gVZGA7Huw3C66Jzt7UzwSukLASM27cGRsHEgdvEknQcFbWcZVdGbqn3p9S6PYj+wsS+MSfZhXKfg+psf6rUcPapf4KxOijCHnDaumqYZYt9USi0jHMcY3RxgPAcPPY9yUx9uNnkzMe0cS1w+UFWL0QvBwunZfrRyTtcObXb+R1j2Gzmn0rhcX2Yq6Z5aYHyMvo+JrntI7erct8xWspjPC5xYKmJxPWyGeO5HDMG2v6UvZOq7HENjJ3zVMngsTxJUSvDiYblj3uc2+bXgQtZieAeDbvfUkTRI4tabQO1DS46DW1hx8y14xar9vrf8Acqf4r8nySyPD3iolkAIBfv5XBpsS1t72BsLgcbBF6frLBG2bDyyNjXfhKl1a1rTbfN0uAu96QnWkoj7if1wrmtm9mKmpqaWWSF8VNTzNmc6UZHPkj1jjZGet41iSQBYaXvp0PSXG8uo3Mje+wmByMe6191a+UacD8ifdZOnPYdJevwv4y/8AYSq2lT2AwTGvw47iYNZO8ucYpQGt3Mgu4kWAvYelXCpVxana39Br/ic/7Jyrmom/Jv8Ag3eoqyNqWF1FXNaCXOpJgAASSTG6wAHEqp5xIWOG5n1Yf7mbs96rEyXFhX5mD4Fn2QspY2GC0MAIsREy4PI5RoslZbUtCcsteDofwlWH0GoeQfkIXb9Gs4LK1l+sKoOtzyOhhDXeYlrx/pK1u1uycwnmq6du8jnIfJGCM7JQ0Nc9oJ6zXBoNhqDfQ305GaCVhzGGojeBbMGTxuA5jMADbuWvcY9VeSrvpsmHgtHFfrvxCItbzIaH5jbsFx8q4100/s6z/crP5ljike9+83E8klrZiyeRwHYCQSE0XJ9Y1LeCcdsT/sldX04H+yvjR+1EsHZ3ZCpqZYnTRPhpWPa95kGV0gYbiFrD1gCQLlwGhNrnhsOm6jmlGGGGCWUMqHF5jje/IOpYuyg2GhTfZJ04+eS442sQQRbQggg66cQFnu2zrf8AiEnzKT7papuH1DnxjwWotvo73hltbeNvfq8LK/PAIvaY/mM/glqSWqPq9rKyVjonV0pY8EOAFO0lp4i7YwR6CufiY2IBjRZpf1jxIB4vt+taw0Flfu1GExSUdYzwdjiaaXKAxpJfkJblsL3va1ua884bhdZuxmo6oEE6GCYG3pakplLFosoaeLAK99NPvxOxz5ZS0sJmGRhYYzrHlDQ3KdRbib3NX4PJaM+/d+5dzs1htQMFxyLwecSySkxxmOQOf+RgF2Ntd2rTw7Fw2GYRVhlnUVUDmOhgmB+ykMmzZSzPgmrI4XSQQTbqQssXNORj85b7Czxrysb2GqwBOJBcHS4PAHUG9nNOhHaDoQVbfQvRyRU1YJYpIy6tJAkY5hLdxAMwDhqLgj0Fa7b7ov3hfWYbZk/F9PoI5e3JyY49nin3J1TZ49NvsP0gxVO7pKgMgqbBrMvVhltoBHfxHf8ALPoLrG3eLzE3B6twLZKCqaf1mvgmt6DlsQrB2K2wraXLT1lLVzU3Bs25ndLEPd6XlZ3+MPdcppqZflbiL5jeHAOHAi48xX0o0IiICIiAiIgIiICIiAiIgIiICgqVBQQiIgIiICIiAi5Cr6SaCN74zK9xY4tJbG4jMDY2PPXmt7s/jcVdCKmDMYy9zQXNLSS02NgeV9PQpMpfVdMuLPGbylkbJSFCxsRxCOmjfPNI1kbBcud9AHaSdABqVXOTbLRUHtvttJiD8jM0dKx3UZeznn2yS3PsbwHeVp8BwyetmbTQFxedXOJdljZzkeeQ9Z0C5fy96kfRx+n3w888tPSiLUbNYDHQQtgjJceL5HeNJJzcezuHILarq+fdb6SVCIiCIiAiIgIiICIiAiIgIiICkKFIQSiIgIiICIiAiIgIiICIiAiIgIiICIiAoKlQUEIiICIiAtVtViXgtHV1I8aOFxb8IRZg+cQtquM6XnkYZOOTpYQfNvWH1gKZXUtb4sfLOY/mxQ7VdnRFjEPgLaYysbNBJJnY5wacr3ue14B4gg8e0FUkhF+Iv515MM/GvufI4JzY63pf20XSHR0gLWyComHCOIhwB93J4rfpPcqe2l2nnxB4fO7qNJ3cTbhjPMObrfrHXzDRaQLrNjNhZ8RLZTeGk5ykavHZC08ffHqjv4LVyyz6c8OLh+NPK+/96avZzAJq+UQQN4WL5DfJE32Tj29jRqfNci+tl9nIcPhEMIuTrJI62eR/snH1DgFlYLhENHE2ngjDI2+kudze5x1c49pWcu+GExfO+T8rLmuvsIiLbyiIiAiIgIiICIiAiIgIiICIiApChSEEoiICIiAiIgIiICIiAiIgIiICIiAiIgKCpUFBCIiAiIgLVbU4MK6lnpCcu9b1XexkaQ5jj3BwHoW1RFlsu48y4ls9VUzzFLSzBwNrhj3Nd3te0WcPMszCNja6qIEdJI1vs5gYWDvu8AuHvQV6ORcf4Y91+oZ66kV7sv0WQU5bLVOFTKNQy1oWn3p1k/1ae5VhAW0HAIi6ySenjz5Ms7vK7ERFWBERAREQEREBERAREQEREBERAREQFIUKQglERAREQEREBERAREQEREBERAREQEREBQURBCIiAiIgIiICIiAiIgIiICIiAiIgIiICIiAiIgIiICIiAiIgKQiIJREQEREBERAREQEREH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247775"/>
            <a:ext cx="9162969" cy="3090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>
            <a:spLocks noGrp="1" noChangeArrowheads="1"/>
          </p:cNvSpPr>
          <p:nvPr>
            <p:ph type="ctrTitle"/>
          </p:nvPr>
        </p:nvSpPr>
        <p:spPr>
          <a:xfrm>
            <a:off x="0" y="1723700"/>
            <a:ext cx="4087907" cy="2369880"/>
          </a:xfr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bbTV: </a:t>
            </a:r>
            <a:r>
              <a:rPr lang="en-US" b="1" dirty="0" smtClean="0">
                <a:solidFill>
                  <a:schemeClr val="bg1"/>
                </a:solidFill>
              </a:rPr>
              <a:t>Reinventing the Broadcast TV UX</a:t>
            </a:r>
            <a:br>
              <a:rPr lang="en-US" b="1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sz="1800" b="0" dirty="0" smtClean="0">
                <a:solidFill>
                  <a:schemeClr val="bg1"/>
                </a:solidFill>
              </a:rPr>
              <a:t>presented by: Kirk Edwardson</a:t>
            </a:r>
            <a:br>
              <a:rPr lang="en-US" sz="1800" b="0" dirty="0" smtClean="0">
                <a:solidFill>
                  <a:schemeClr val="bg1"/>
                </a:solidFill>
              </a:rPr>
            </a:br>
            <a:r>
              <a:rPr lang="en-US" sz="1800" b="0" dirty="0" smtClean="0">
                <a:solidFill>
                  <a:schemeClr val="bg1"/>
                </a:solidFill>
              </a:rPr>
              <a:t>date: March 12, 2013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endParaRPr lang="en-US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onclusion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dirty="0" err="1" smtClean="0"/>
              <a:t>Strong</a:t>
            </a:r>
            <a:r>
              <a:rPr lang="fr-CA" dirty="0" smtClean="0"/>
              <a:t> </a:t>
            </a:r>
            <a:r>
              <a:rPr lang="fr-CA" dirty="0" err="1" smtClean="0"/>
              <a:t>momentum</a:t>
            </a:r>
            <a:r>
              <a:rPr lang="fr-CA" dirty="0" smtClean="0"/>
              <a:t> </a:t>
            </a:r>
            <a:r>
              <a:rPr lang="fr-CA" dirty="0" smtClean="0"/>
              <a:t>&amp; </a:t>
            </a:r>
            <a:r>
              <a:rPr lang="fr-CA" dirty="0" err="1" smtClean="0"/>
              <a:t>growth</a:t>
            </a:r>
            <a:endParaRPr lang="fr-CA" dirty="0" smtClean="0"/>
          </a:p>
          <a:p>
            <a:r>
              <a:rPr lang="fr-CA" dirty="0" err="1" smtClean="0"/>
              <a:t>Exceptional</a:t>
            </a:r>
            <a:r>
              <a:rPr lang="fr-CA" dirty="0" smtClean="0"/>
              <a:t> </a:t>
            </a:r>
            <a:r>
              <a:rPr lang="fr-CA" dirty="0" err="1" smtClean="0"/>
              <a:t>viewing</a:t>
            </a:r>
            <a:r>
              <a:rPr lang="fr-CA" dirty="0" smtClean="0"/>
              <a:t> </a:t>
            </a:r>
            <a:r>
              <a:rPr lang="fr-CA" dirty="0" err="1" smtClean="0"/>
              <a:t>experiences</a:t>
            </a:r>
            <a:endParaRPr lang="fr-CA" dirty="0" smtClean="0"/>
          </a:p>
          <a:p>
            <a:r>
              <a:rPr lang="fr-CA" dirty="0" err="1" smtClean="0"/>
              <a:t>Connects</a:t>
            </a:r>
            <a:r>
              <a:rPr lang="fr-CA" dirty="0" smtClean="0"/>
              <a:t> </a:t>
            </a:r>
            <a:r>
              <a:rPr lang="fr-CA" dirty="0" err="1" smtClean="0"/>
              <a:t>strategies</a:t>
            </a:r>
            <a:r>
              <a:rPr lang="fr-CA" dirty="0" smtClean="0"/>
              <a:t> of </a:t>
            </a:r>
            <a:r>
              <a:rPr lang="fr-CA" dirty="0" err="1" smtClean="0"/>
              <a:t>broadcasters</a:t>
            </a:r>
            <a:r>
              <a:rPr lang="fr-CA" dirty="0" smtClean="0"/>
              <a:t>, consumer </a:t>
            </a:r>
            <a:r>
              <a:rPr lang="fr-CA" dirty="0" err="1" smtClean="0"/>
              <a:t>electronics</a:t>
            </a:r>
            <a:r>
              <a:rPr lang="fr-CA" dirty="0" smtClean="0"/>
              <a:t> </a:t>
            </a:r>
            <a:r>
              <a:rPr lang="fr-CA" dirty="0" err="1" smtClean="0"/>
              <a:t>manufacturers</a:t>
            </a:r>
            <a:r>
              <a:rPr lang="fr-CA" dirty="0" smtClean="0"/>
              <a:t> and </a:t>
            </a:r>
            <a:r>
              <a:rPr lang="fr-CA" dirty="0" err="1" smtClean="0"/>
              <a:t>pay</a:t>
            </a:r>
            <a:r>
              <a:rPr lang="fr-CA" dirty="0" smtClean="0"/>
              <a:t>-TV </a:t>
            </a:r>
            <a:r>
              <a:rPr lang="fr-CA" dirty="0" err="1" smtClean="0"/>
              <a:t>operators</a:t>
            </a:r>
            <a:endParaRPr lang="fr-CA" dirty="0" smtClean="0"/>
          </a:p>
          <a:p>
            <a:r>
              <a:rPr lang="fr-CA" dirty="0" err="1" smtClean="0"/>
              <a:t>LinkedIn</a:t>
            </a:r>
            <a:r>
              <a:rPr lang="fr-CA" dirty="0" smtClean="0"/>
              <a:t> group – </a:t>
            </a:r>
            <a:r>
              <a:rPr lang="fr-CA" dirty="0" err="1" smtClean="0"/>
              <a:t>very</a:t>
            </a:r>
            <a:r>
              <a:rPr lang="fr-CA" dirty="0" smtClean="0"/>
              <a:t> active, </a:t>
            </a:r>
            <a:r>
              <a:rPr lang="fr-CA" dirty="0" err="1" smtClean="0"/>
              <a:t>provides</a:t>
            </a:r>
            <a:r>
              <a:rPr lang="fr-CA" smtClean="0"/>
              <a:t> good </a:t>
            </a:r>
            <a:r>
              <a:rPr lang="fr-CA" dirty="0" err="1" smtClean="0"/>
              <a:t>view</a:t>
            </a:r>
            <a:r>
              <a:rPr lang="fr-CA" dirty="0" smtClean="0"/>
              <a:t> to HbbTV news</a:t>
            </a:r>
            <a:endParaRPr lang="fr-CA" dirty="0" smtClean="0"/>
          </a:p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10</a:t>
            </a:fld>
            <a:endParaRPr lang="en-CA"/>
          </a:p>
        </p:txBody>
      </p:sp>
      <p:sp>
        <p:nvSpPr>
          <p:cNvPr id="6" name="Rectangle 9"/>
          <p:cNvSpPr txBox="1">
            <a:spLocks noChangeArrowheads="1"/>
          </p:cNvSpPr>
          <p:nvPr/>
        </p:nvSpPr>
        <p:spPr bwMode="auto">
          <a:xfrm>
            <a:off x="2551814" y="4953115"/>
            <a:ext cx="5597731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425180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HbbTV: Reinventing the Broadcast TV U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Agenda</a:t>
            </a:r>
            <a:endParaRPr lang="fr-CA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dirty="0" err="1" smtClean="0"/>
              <a:t>Overview</a:t>
            </a:r>
            <a:endParaRPr lang="fr-CA" dirty="0" smtClean="0"/>
          </a:p>
          <a:p>
            <a:r>
              <a:rPr lang="fr-CA" dirty="0" smtClean="0"/>
              <a:t>Business Drivers</a:t>
            </a:r>
          </a:p>
          <a:p>
            <a:r>
              <a:rPr lang="fr-CA" dirty="0" smtClean="0"/>
              <a:t>Adoption</a:t>
            </a:r>
          </a:p>
          <a:p>
            <a:r>
              <a:rPr lang="fr-CA" dirty="0" err="1" smtClean="0"/>
              <a:t>Devices</a:t>
            </a:r>
            <a:endParaRPr lang="fr-CA" dirty="0" smtClean="0"/>
          </a:p>
          <a:p>
            <a:r>
              <a:rPr lang="fr-CA" dirty="0" err="1" smtClean="0"/>
              <a:t>Features</a:t>
            </a:r>
            <a:endParaRPr lang="fr-CA" dirty="0" smtClean="0"/>
          </a:p>
          <a:p>
            <a:r>
              <a:rPr lang="fr-CA" dirty="0" smtClean="0"/>
              <a:t>Services</a:t>
            </a:r>
          </a:p>
          <a:p>
            <a:r>
              <a:rPr lang="fr-CA" dirty="0" smtClean="0"/>
              <a:t>Conclusion</a:t>
            </a:r>
          </a:p>
          <a:p>
            <a:endParaRPr lang="fr-C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2</a:t>
            </a:fld>
            <a:endParaRPr lang="en-CA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HbbTV </a:t>
            </a:r>
            <a:r>
              <a:rPr lang="fr-CA" dirty="0" err="1" smtClean="0"/>
              <a:t>Overview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The HbbTV association is a global initiative aimed at providing an alternative to proprietary technologies and delivering an open platform for broadcasters to deliver on‐demand services to the end </a:t>
            </a:r>
            <a:r>
              <a:rPr lang="en-US" sz="1800" dirty="0" smtClean="0"/>
              <a:t>consumer</a:t>
            </a:r>
          </a:p>
          <a:p>
            <a:r>
              <a:rPr lang="en-US" sz="1800" dirty="0" smtClean="0"/>
              <a:t> </a:t>
            </a:r>
            <a:r>
              <a:rPr lang="en-US" sz="1800" dirty="0" smtClean="0"/>
              <a:t>Formed in </a:t>
            </a:r>
            <a:r>
              <a:rPr lang="en-US" sz="1800" dirty="0" smtClean="0"/>
              <a:t>2009 - aim to </a:t>
            </a:r>
            <a:r>
              <a:rPr lang="en-US" sz="1800" dirty="0" smtClean="0"/>
              <a:t>define an HTML-based specification to enable broadcasters to associate applications with their content, allowing consumers to access other video content and additional information. </a:t>
            </a:r>
            <a:endParaRPr lang="en-US" sz="1800" dirty="0" smtClean="0"/>
          </a:p>
          <a:p>
            <a:r>
              <a:rPr lang="en-US" sz="1800" dirty="0" smtClean="0"/>
              <a:t>In </a:t>
            </a:r>
            <a:r>
              <a:rPr lang="en-US" sz="1800" dirty="0" smtClean="0"/>
              <a:t>addition to helping consumers, the introduction of the HbbTV standard is of benefit to both equipment manufacturers and content providers. </a:t>
            </a:r>
            <a:endParaRPr lang="en-US" sz="1800" dirty="0" smtClean="0"/>
          </a:p>
          <a:p>
            <a:r>
              <a:rPr lang="en-US" sz="1800" dirty="0" smtClean="0"/>
              <a:t>Standards </a:t>
            </a:r>
            <a:r>
              <a:rPr lang="en-US" sz="1800" dirty="0" smtClean="0"/>
              <a:t>have historically been set on a country-by-country basis, requiring delivery of specialized hardware or content to each nation. The establishment of a unified </a:t>
            </a:r>
            <a:r>
              <a:rPr lang="en-US" sz="1800" dirty="0" smtClean="0"/>
              <a:t>HbbTV </a:t>
            </a:r>
            <a:r>
              <a:rPr lang="en-US" sz="1800" dirty="0" smtClean="0"/>
              <a:t>standard means content owners and application developers can write once and deploy across many countries. </a:t>
            </a:r>
            <a:endParaRPr lang="en-CA" sz="1800" dirty="0" smtClean="0"/>
          </a:p>
          <a:p>
            <a:endParaRPr lang="fr-CA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3</a:t>
            </a:fld>
            <a:endParaRPr lang="en-CA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5544" y="-118071"/>
            <a:ext cx="7692656" cy="1114425"/>
          </a:xfrm>
        </p:spPr>
        <p:txBody>
          <a:bodyPr/>
          <a:lstStyle/>
          <a:p>
            <a:r>
              <a:rPr lang="en-CA" sz="2800" dirty="0" smtClean="0"/>
              <a:t>HbbTV Business Drivers</a:t>
            </a:r>
            <a:endParaRPr lang="en-CA" sz="28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85799" y="1184837"/>
            <a:ext cx="8054163" cy="4650217"/>
          </a:xfrm>
        </p:spPr>
        <p:txBody>
          <a:bodyPr/>
          <a:lstStyle/>
          <a:p>
            <a:pPr lvl="0">
              <a:spcBef>
                <a:spcPts val="100"/>
              </a:spcBef>
            </a:pPr>
            <a:r>
              <a:rPr lang="en-US" sz="1600" dirty="0" smtClean="0"/>
              <a:t>Analog Switch Off and Move to Digital</a:t>
            </a:r>
            <a:endParaRPr lang="en-CA" sz="12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Requires </a:t>
            </a:r>
            <a:r>
              <a:rPr lang="en-US" sz="1400" dirty="0" smtClean="0"/>
              <a:t>large countrywide investments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Of</a:t>
            </a:r>
            <a:r>
              <a:rPr lang="en-US" sz="1400" dirty="0" smtClean="0"/>
              <a:t>ten </a:t>
            </a:r>
            <a:r>
              <a:rPr lang="en-US" sz="1400" dirty="0" smtClean="0"/>
              <a:t>subsidized by governments or by selected broadcasters</a:t>
            </a:r>
            <a:endParaRPr lang="en-CA" sz="1100" dirty="0" smtClean="0"/>
          </a:p>
          <a:p>
            <a:pPr lvl="0">
              <a:spcBef>
                <a:spcPts val="100"/>
              </a:spcBef>
            </a:pPr>
            <a:r>
              <a:rPr lang="en-US" sz="1600" dirty="0" smtClean="0"/>
              <a:t>Consumer Demand</a:t>
            </a:r>
            <a:endParaRPr lang="en-CA" sz="12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More content, both free and paid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Better quality (HD) programming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New services such as VOD, Interactive TV, Information, games and more</a:t>
            </a:r>
            <a:endParaRPr lang="en-CA" sz="1100" dirty="0" smtClean="0"/>
          </a:p>
          <a:p>
            <a:pPr lvl="0">
              <a:spcBef>
                <a:spcPts val="100"/>
              </a:spcBef>
            </a:pPr>
            <a:r>
              <a:rPr lang="en-US" sz="1600" dirty="0" smtClean="0"/>
              <a:t>Broadcaster Innovation</a:t>
            </a:r>
            <a:endParaRPr lang="en-CA" sz="12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Interactive TV to attract consumers and retain their audience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New forms of advertising and revenue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Open content libraries to </a:t>
            </a:r>
            <a:r>
              <a:rPr lang="en-US" sz="1400" dirty="0" smtClean="0"/>
              <a:t>national/global </a:t>
            </a:r>
            <a:r>
              <a:rPr lang="en-US" sz="1400" dirty="0" smtClean="0"/>
              <a:t>audiences to build brand and </a:t>
            </a:r>
            <a:r>
              <a:rPr lang="en-US" sz="1400" dirty="0" smtClean="0"/>
              <a:t>new </a:t>
            </a:r>
            <a:r>
              <a:rPr lang="en-US" sz="1400" dirty="0" smtClean="0"/>
              <a:t>revenues</a:t>
            </a:r>
            <a:endParaRPr lang="en-CA" sz="1100" dirty="0" smtClean="0"/>
          </a:p>
          <a:p>
            <a:pPr lvl="0">
              <a:spcBef>
                <a:spcPts val="100"/>
              </a:spcBef>
            </a:pPr>
            <a:r>
              <a:rPr lang="en-US" sz="1600" dirty="0" smtClean="0"/>
              <a:t>Government</a:t>
            </a:r>
            <a:endParaRPr lang="en-CA" sz="12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New broadcast licenses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e-Government services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Education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Early warning systems</a:t>
            </a:r>
          </a:p>
          <a:p>
            <a:pPr lvl="1">
              <a:spcBef>
                <a:spcPts val="100"/>
              </a:spcBef>
            </a:pPr>
            <a:r>
              <a:rPr lang="en-US" sz="1400" dirty="0" smtClean="0"/>
              <a:t>Show leadership in adopting advanced consumer TV services</a:t>
            </a:r>
            <a:endParaRPr lang="en-CA" sz="1100" dirty="0" smtClean="0"/>
          </a:p>
          <a:p>
            <a:pPr lvl="0">
              <a:spcBef>
                <a:spcPts val="100"/>
              </a:spcBef>
            </a:pPr>
            <a:r>
              <a:rPr lang="en-US" sz="1600" dirty="0" smtClean="0"/>
              <a:t>Pay-TV Operators</a:t>
            </a:r>
            <a:endParaRPr lang="en-CA" sz="12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Take advanced of open standard to replace legacy middleware cost-effectively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Support traditional value-add services for new revenue opportunities</a:t>
            </a:r>
            <a:endParaRPr lang="en-CA" sz="1100" dirty="0" smtClean="0"/>
          </a:p>
          <a:p>
            <a:pPr lvl="1">
              <a:spcBef>
                <a:spcPts val="100"/>
              </a:spcBef>
            </a:pPr>
            <a:r>
              <a:rPr lang="en-US" sz="1400" dirty="0" smtClean="0"/>
              <a:t>Leverage HbbTV receivers (TV and set-top boxes) to deliver new services</a:t>
            </a:r>
            <a:endParaRPr lang="en-CA" sz="1100" dirty="0" smtClean="0"/>
          </a:p>
          <a:p>
            <a:pPr lvl="0">
              <a:spcBef>
                <a:spcPts val="100"/>
              </a:spcBef>
            </a:pPr>
            <a:endParaRPr lang="en-CA" sz="16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4</a:t>
            </a:fld>
            <a:endParaRPr lang="en-C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Titel 1"/>
          <p:cNvSpPr>
            <a:spLocks noGrp="1"/>
          </p:cNvSpPr>
          <p:nvPr>
            <p:ph type="title"/>
          </p:nvPr>
        </p:nvSpPr>
        <p:spPr>
          <a:xfrm>
            <a:off x="468313" y="419100"/>
            <a:ext cx="6407943" cy="488950"/>
          </a:xfrm>
        </p:spPr>
        <p:txBody>
          <a:bodyPr/>
          <a:lstStyle/>
          <a:p>
            <a:r>
              <a:rPr lang="en-CA" sz="2800" smtClean="0"/>
              <a:t>HbbTV Adoption - Europe</a:t>
            </a:r>
            <a:endParaRPr lang="en-CA" sz="2800"/>
          </a:p>
        </p:txBody>
      </p:sp>
      <p:sp>
        <p:nvSpPr>
          <p:cNvPr id="30815" name="Rectangle 102"/>
          <p:cNvSpPr>
            <a:spLocks noChangeArrowheads="1"/>
          </p:cNvSpPr>
          <p:nvPr/>
        </p:nvSpPr>
        <p:spPr bwMode="auto">
          <a:xfrm>
            <a:off x="6732588" y="2744167"/>
            <a:ext cx="1979612" cy="287338"/>
          </a:xfrm>
          <a:prstGeom prst="rect">
            <a:avLst/>
          </a:prstGeom>
          <a:solidFill>
            <a:srgbClr val="FFCC99"/>
          </a:solidFill>
          <a:ln>
            <a:noFill/>
          </a:ln>
          <a:extLst/>
        </p:spPr>
        <p:txBody>
          <a:bodyPr wrap="none" anchor="ctr"/>
          <a:lstStyle/>
          <a:p>
            <a:r>
              <a:rPr lang="en-CA" sz="1600" smtClean="0">
                <a:latin typeface="+mn-lt"/>
              </a:rPr>
              <a:t>other plans</a:t>
            </a:r>
            <a:endParaRPr lang="en-CA" sz="1600">
              <a:latin typeface="+mn-lt"/>
            </a:endParaRPr>
          </a:p>
        </p:txBody>
      </p:sp>
      <p:sp>
        <p:nvSpPr>
          <p:cNvPr id="30817" name="Rectangle 104"/>
          <p:cNvSpPr>
            <a:spLocks noChangeArrowheads="1"/>
          </p:cNvSpPr>
          <p:nvPr/>
        </p:nvSpPr>
        <p:spPr bwMode="auto">
          <a:xfrm>
            <a:off x="6732588" y="1484784"/>
            <a:ext cx="1979612" cy="288925"/>
          </a:xfrm>
          <a:prstGeom prst="rect">
            <a:avLst/>
          </a:prstGeom>
          <a:solidFill>
            <a:srgbClr val="008000"/>
          </a:solidFill>
          <a:ln>
            <a:noFill/>
          </a:ln>
          <a:extLst/>
        </p:spPr>
        <p:txBody>
          <a:bodyPr wrap="none" anchor="ctr"/>
          <a:lstStyle/>
          <a:p>
            <a:r>
              <a:rPr lang="en-CA" sz="1600" dirty="0" smtClean="0">
                <a:solidFill>
                  <a:schemeClr val="bg1">
                    <a:lumMod val="95000"/>
                  </a:schemeClr>
                </a:solidFill>
                <a:latin typeface="+mn-lt"/>
              </a:rPr>
              <a:t>in regular operation</a:t>
            </a:r>
            <a:endParaRPr lang="en-CA" sz="1600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30819" name="Rectangle 109"/>
          <p:cNvSpPr>
            <a:spLocks noChangeArrowheads="1"/>
          </p:cNvSpPr>
          <p:nvPr/>
        </p:nvSpPr>
        <p:spPr bwMode="auto">
          <a:xfrm>
            <a:off x="6732588" y="1916584"/>
            <a:ext cx="1981200" cy="287337"/>
          </a:xfrm>
          <a:prstGeom prst="rect">
            <a:avLst/>
          </a:prstGeom>
          <a:solidFill>
            <a:srgbClr val="66FF6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r>
              <a:rPr lang="en-CA" sz="1600" smtClean="0">
                <a:latin typeface="+mn-lt"/>
              </a:rPr>
              <a:t>announced / trials</a:t>
            </a:r>
            <a:endParaRPr lang="en-CA" sz="1600">
              <a:latin typeface="+mn-lt"/>
            </a:endParaRPr>
          </a:p>
        </p:txBody>
      </p:sp>
      <p:sp>
        <p:nvSpPr>
          <p:cNvPr id="30821" name="Rectangle 140"/>
          <p:cNvSpPr>
            <a:spLocks noChangeArrowheads="1"/>
          </p:cNvSpPr>
          <p:nvPr/>
        </p:nvSpPr>
        <p:spPr bwMode="auto">
          <a:xfrm>
            <a:off x="6732588" y="2348880"/>
            <a:ext cx="1979612" cy="288925"/>
          </a:xfrm>
          <a:prstGeom prst="rect">
            <a:avLst/>
          </a:prstGeom>
          <a:solidFill>
            <a:srgbClr val="6D89AB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r>
              <a:rPr lang="en-CA" sz="1600" smtClean="0">
                <a:latin typeface="+mn-lt"/>
              </a:rPr>
              <a:t>no information</a:t>
            </a:r>
            <a:endParaRPr lang="en-CA" sz="1600">
              <a:latin typeface="+mn-lt"/>
            </a:endParaRPr>
          </a:p>
        </p:txBody>
      </p:sp>
      <p:sp>
        <p:nvSpPr>
          <p:cNvPr id="104" name="Freeform 4"/>
          <p:cNvSpPr>
            <a:spLocks noChangeAspect="1"/>
          </p:cNvSpPr>
          <p:nvPr/>
        </p:nvSpPr>
        <p:spPr bwMode="auto">
          <a:xfrm>
            <a:off x="3508226" y="1619597"/>
            <a:ext cx="2647950" cy="3482975"/>
          </a:xfrm>
          <a:custGeom>
            <a:avLst/>
            <a:gdLst>
              <a:gd name="T0" fmla="*/ 1086691 w 1925"/>
              <a:gd name="T1" fmla="*/ 154309 h 2686"/>
              <a:gd name="T2" fmla="*/ 917498 w 1925"/>
              <a:gd name="T3" fmla="*/ 237299 h 2686"/>
              <a:gd name="T4" fmla="*/ 869353 w 1925"/>
              <a:gd name="T5" fmla="*/ 85583 h 2686"/>
              <a:gd name="T6" fmla="*/ 858349 w 1925"/>
              <a:gd name="T7" fmla="*/ 271013 h 2686"/>
              <a:gd name="T8" fmla="*/ 759308 w 1925"/>
              <a:gd name="T9" fmla="*/ 431806 h 2686"/>
              <a:gd name="T10" fmla="*/ 634132 w 1925"/>
              <a:gd name="T11" fmla="*/ 560181 h 2686"/>
              <a:gd name="T12" fmla="*/ 617626 w 1925"/>
              <a:gd name="T13" fmla="*/ 674292 h 2686"/>
              <a:gd name="T14" fmla="*/ 363148 w 1925"/>
              <a:gd name="T15" fmla="*/ 360487 h 2686"/>
              <a:gd name="T16" fmla="*/ 713915 w 1925"/>
              <a:gd name="T17" fmla="*/ 281387 h 2686"/>
              <a:gd name="T18" fmla="*/ 291618 w 1925"/>
              <a:gd name="T19" fmla="*/ 226925 h 2686"/>
              <a:gd name="T20" fmla="*/ 189827 w 1925"/>
              <a:gd name="T21" fmla="*/ 208771 h 2686"/>
              <a:gd name="T22" fmla="*/ 200832 w 1925"/>
              <a:gd name="T23" fmla="*/ 361783 h 2686"/>
              <a:gd name="T24" fmla="*/ 251727 w 1925"/>
              <a:gd name="T25" fmla="*/ 610752 h 2686"/>
              <a:gd name="T26" fmla="*/ 302623 w 1925"/>
              <a:gd name="T27" fmla="*/ 814337 h 2686"/>
              <a:gd name="T28" fmla="*/ 207709 w 1925"/>
              <a:gd name="T29" fmla="*/ 947898 h 2686"/>
              <a:gd name="T30" fmla="*/ 276487 w 1925"/>
              <a:gd name="T31" fmla="*/ 981613 h 2686"/>
              <a:gd name="T32" fmla="*/ 261356 w 1925"/>
              <a:gd name="T33" fmla="*/ 1001064 h 2686"/>
              <a:gd name="T34" fmla="*/ 221465 w 1925"/>
              <a:gd name="T35" fmla="*/ 1078866 h 2686"/>
              <a:gd name="T36" fmla="*/ 226967 w 1925"/>
              <a:gd name="T37" fmla="*/ 1177417 h 2686"/>
              <a:gd name="T38" fmla="*/ 270985 w 1925"/>
              <a:gd name="T39" fmla="*/ 1303198 h 2686"/>
              <a:gd name="T40" fmla="*/ 213212 w 1925"/>
              <a:gd name="T41" fmla="*/ 1386188 h 2686"/>
              <a:gd name="T42" fmla="*/ 132054 w 1925"/>
              <a:gd name="T43" fmla="*/ 1486035 h 2686"/>
              <a:gd name="T44" fmla="*/ 77031 w 1925"/>
              <a:gd name="T45" fmla="*/ 1592365 h 2686"/>
              <a:gd name="T46" fmla="*/ 103167 w 1925"/>
              <a:gd name="T47" fmla="*/ 1770015 h 2686"/>
              <a:gd name="T48" fmla="*/ 22009 w 1925"/>
              <a:gd name="T49" fmla="*/ 1991753 h 2686"/>
              <a:gd name="T50" fmla="*/ 159565 w 1925"/>
              <a:gd name="T51" fmla="*/ 1980083 h 2686"/>
              <a:gd name="T52" fmla="*/ 292994 w 1925"/>
              <a:gd name="T53" fmla="*/ 1971006 h 2686"/>
              <a:gd name="T54" fmla="*/ 364523 w 1925"/>
              <a:gd name="T55" fmla="*/ 2121425 h 2686"/>
              <a:gd name="T56" fmla="*/ 500703 w 1925"/>
              <a:gd name="T57" fmla="*/ 2170700 h 2686"/>
              <a:gd name="T58" fmla="*/ 521337 w 1925"/>
              <a:gd name="T59" fmla="*/ 2129205 h 2686"/>
              <a:gd name="T60" fmla="*/ 552975 w 1925"/>
              <a:gd name="T61" fmla="*/ 2056589 h 2686"/>
              <a:gd name="T62" fmla="*/ 591490 w 1925"/>
              <a:gd name="T63" fmla="*/ 2087710 h 2686"/>
              <a:gd name="T64" fmla="*/ 630006 w 1925"/>
              <a:gd name="T65" fmla="*/ 2131798 h 2686"/>
              <a:gd name="T66" fmla="*/ 678150 w 1925"/>
              <a:gd name="T67" fmla="*/ 2192744 h 2686"/>
              <a:gd name="T68" fmla="*/ 749679 w 1925"/>
              <a:gd name="T69" fmla="*/ 2196634 h 2686"/>
              <a:gd name="T70" fmla="*/ 852846 w 1925"/>
              <a:gd name="T71" fmla="*/ 2138282 h 2686"/>
              <a:gd name="T72" fmla="*/ 755182 w 1925"/>
              <a:gd name="T73" fmla="*/ 2118831 h 2686"/>
              <a:gd name="T74" fmla="*/ 701535 w 1925"/>
              <a:gd name="T75" fmla="*/ 2060479 h 2686"/>
              <a:gd name="T76" fmla="*/ 1011036 w 1925"/>
              <a:gd name="T77" fmla="*/ 1947665 h 2686"/>
              <a:gd name="T78" fmla="*/ 932629 w 1925"/>
              <a:gd name="T79" fmla="*/ 2069556 h 2686"/>
              <a:gd name="T80" fmla="*/ 865226 w 1925"/>
              <a:gd name="T81" fmla="*/ 2170700 h 2686"/>
              <a:gd name="T82" fmla="*/ 1235252 w 1925"/>
              <a:gd name="T83" fmla="*/ 2256283 h 2686"/>
              <a:gd name="T84" fmla="*/ 1397567 w 1925"/>
              <a:gd name="T85" fmla="*/ 2319822 h 2686"/>
              <a:gd name="T86" fmla="*/ 1630037 w 1925"/>
              <a:gd name="T87" fmla="*/ 2449493 h 2686"/>
              <a:gd name="T88" fmla="*/ 1770344 w 1925"/>
              <a:gd name="T89" fmla="*/ 2467647 h 2686"/>
              <a:gd name="T90" fmla="*/ 1869384 w 1925"/>
              <a:gd name="T91" fmla="*/ 2341866 h 2686"/>
              <a:gd name="T92" fmla="*/ 1682308 w 1925"/>
              <a:gd name="T93" fmla="*/ 2099381 h 2686"/>
              <a:gd name="T94" fmla="*/ 1624535 w 1925"/>
              <a:gd name="T95" fmla="*/ 1872456 h 2686"/>
              <a:gd name="T96" fmla="*/ 1613530 w 1925"/>
              <a:gd name="T97" fmla="*/ 1882829 h 2686"/>
              <a:gd name="T98" fmla="*/ 1653421 w 1925"/>
              <a:gd name="T99" fmla="*/ 2091600 h 2686"/>
              <a:gd name="T100" fmla="*/ 1624535 w 1925"/>
              <a:gd name="T101" fmla="*/ 2066963 h 2686"/>
              <a:gd name="T102" fmla="*/ 1598399 w 1925"/>
              <a:gd name="T103" fmla="*/ 1937291 h 2686"/>
              <a:gd name="T104" fmla="*/ 1650670 w 1925"/>
              <a:gd name="T105" fmla="*/ 1811510 h 2686"/>
              <a:gd name="T106" fmla="*/ 1742833 w 1925"/>
              <a:gd name="T107" fmla="*/ 1703883 h 2686"/>
              <a:gd name="T108" fmla="*/ 1852877 w 1925"/>
              <a:gd name="T109" fmla="*/ 1423793 h 2686"/>
              <a:gd name="T110" fmla="*/ 1403070 w 1925"/>
              <a:gd name="T111" fmla="*/ 750798 h 2686"/>
              <a:gd name="T112" fmla="*/ 1280645 w 1925"/>
              <a:gd name="T113" fmla="*/ 59649 h 268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5"/>
              <a:gd name="T172" fmla="*/ 0 h 2686"/>
              <a:gd name="T173" fmla="*/ 1925 w 1925"/>
              <a:gd name="T174" fmla="*/ 2686 h 268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5" h="2686">
                <a:moveTo>
                  <a:pt x="1280" y="64"/>
                </a:moveTo>
                <a:lnTo>
                  <a:pt x="1164" y="0"/>
                </a:lnTo>
                <a:lnTo>
                  <a:pt x="1128" y="108"/>
                </a:lnTo>
                <a:lnTo>
                  <a:pt x="1062" y="90"/>
                </a:lnTo>
                <a:lnTo>
                  <a:pt x="1089" y="117"/>
                </a:lnTo>
                <a:lnTo>
                  <a:pt x="1131" y="135"/>
                </a:lnTo>
                <a:lnTo>
                  <a:pt x="1086" y="165"/>
                </a:lnTo>
                <a:lnTo>
                  <a:pt x="1101" y="279"/>
                </a:lnTo>
                <a:lnTo>
                  <a:pt x="1068" y="314"/>
                </a:lnTo>
                <a:lnTo>
                  <a:pt x="1023" y="329"/>
                </a:lnTo>
                <a:lnTo>
                  <a:pt x="981" y="323"/>
                </a:lnTo>
                <a:lnTo>
                  <a:pt x="957" y="296"/>
                </a:lnTo>
                <a:lnTo>
                  <a:pt x="936" y="281"/>
                </a:lnTo>
                <a:lnTo>
                  <a:pt x="918" y="255"/>
                </a:lnTo>
                <a:lnTo>
                  <a:pt x="924" y="219"/>
                </a:lnTo>
                <a:lnTo>
                  <a:pt x="903" y="192"/>
                </a:lnTo>
                <a:lnTo>
                  <a:pt x="957" y="174"/>
                </a:lnTo>
                <a:lnTo>
                  <a:pt x="966" y="138"/>
                </a:lnTo>
                <a:lnTo>
                  <a:pt x="948" y="90"/>
                </a:lnTo>
                <a:lnTo>
                  <a:pt x="900" y="75"/>
                </a:lnTo>
                <a:lnTo>
                  <a:pt x="870" y="93"/>
                </a:lnTo>
                <a:lnTo>
                  <a:pt x="804" y="102"/>
                </a:lnTo>
                <a:lnTo>
                  <a:pt x="768" y="99"/>
                </a:lnTo>
                <a:lnTo>
                  <a:pt x="804" y="132"/>
                </a:lnTo>
                <a:lnTo>
                  <a:pt x="831" y="171"/>
                </a:lnTo>
                <a:lnTo>
                  <a:pt x="849" y="201"/>
                </a:lnTo>
                <a:lnTo>
                  <a:pt x="861" y="243"/>
                </a:lnTo>
                <a:lnTo>
                  <a:pt x="858" y="290"/>
                </a:lnTo>
                <a:lnTo>
                  <a:pt x="882" y="311"/>
                </a:lnTo>
                <a:lnTo>
                  <a:pt x="918" y="395"/>
                </a:lnTo>
                <a:lnTo>
                  <a:pt x="885" y="377"/>
                </a:lnTo>
                <a:lnTo>
                  <a:pt x="843" y="359"/>
                </a:lnTo>
                <a:lnTo>
                  <a:pt x="810" y="341"/>
                </a:lnTo>
                <a:lnTo>
                  <a:pt x="798" y="410"/>
                </a:lnTo>
                <a:lnTo>
                  <a:pt x="759" y="464"/>
                </a:lnTo>
                <a:lnTo>
                  <a:pt x="729" y="488"/>
                </a:lnTo>
                <a:lnTo>
                  <a:pt x="801" y="590"/>
                </a:lnTo>
                <a:lnTo>
                  <a:pt x="789" y="620"/>
                </a:lnTo>
                <a:lnTo>
                  <a:pt x="750" y="632"/>
                </a:lnTo>
                <a:lnTo>
                  <a:pt x="693" y="617"/>
                </a:lnTo>
                <a:lnTo>
                  <a:pt x="668" y="611"/>
                </a:lnTo>
                <a:lnTo>
                  <a:pt x="635" y="602"/>
                </a:lnTo>
                <a:lnTo>
                  <a:pt x="614" y="623"/>
                </a:lnTo>
                <a:lnTo>
                  <a:pt x="626" y="650"/>
                </a:lnTo>
                <a:lnTo>
                  <a:pt x="650" y="665"/>
                </a:lnTo>
                <a:lnTo>
                  <a:pt x="705" y="659"/>
                </a:lnTo>
                <a:lnTo>
                  <a:pt x="723" y="734"/>
                </a:lnTo>
                <a:lnTo>
                  <a:pt x="678" y="746"/>
                </a:lnTo>
                <a:lnTo>
                  <a:pt x="617" y="725"/>
                </a:lnTo>
                <a:lnTo>
                  <a:pt x="551" y="692"/>
                </a:lnTo>
                <a:lnTo>
                  <a:pt x="526" y="662"/>
                </a:lnTo>
                <a:lnTo>
                  <a:pt x="490" y="533"/>
                </a:lnTo>
                <a:lnTo>
                  <a:pt x="463" y="494"/>
                </a:lnTo>
                <a:lnTo>
                  <a:pt x="409" y="458"/>
                </a:lnTo>
                <a:lnTo>
                  <a:pt x="382" y="422"/>
                </a:lnTo>
                <a:lnTo>
                  <a:pt x="364" y="386"/>
                </a:lnTo>
                <a:lnTo>
                  <a:pt x="490" y="440"/>
                </a:lnTo>
                <a:lnTo>
                  <a:pt x="587" y="449"/>
                </a:lnTo>
                <a:lnTo>
                  <a:pt x="650" y="437"/>
                </a:lnTo>
                <a:lnTo>
                  <a:pt x="678" y="422"/>
                </a:lnTo>
                <a:lnTo>
                  <a:pt x="702" y="383"/>
                </a:lnTo>
                <a:lnTo>
                  <a:pt x="714" y="350"/>
                </a:lnTo>
                <a:lnTo>
                  <a:pt x="714" y="302"/>
                </a:lnTo>
                <a:lnTo>
                  <a:pt x="659" y="270"/>
                </a:lnTo>
                <a:lnTo>
                  <a:pt x="635" y="281"/>
                </a:lnTo>
                <a:lnTo>
                  <a:pt x="543" y="225"/>
                </a:lnTo>
                <a:lnTo>
                  <a:pt x="463" y="225"/>
                </a:lnTo>
                <a:lnTo>
                  <a:pt x="346" y="234"/>
                </a:lnTo>
                <a:lnTo>
                  <a:pt x="310" y="243"/>
                </a:lnTo>
                <a:lnTo>
                  <a:pt x="292" y="243"/>
                </a:lnTo>
                <a:lnTo>
                  <a:pt x="271" y="223"/>
                </a:lnTo>
                <a:lnTo>
                  <a:pt x="286" y="180"/>
                </a:lnTo>
                <a:lnTo>
                  <a:pt x="261" y="179"/>
                </a:lnTo>
                <a:lnTo>
                  <a:pt x="246" y="204"/>
                </a:lnTo>
                <a:lnTo>
                  <a:pt x="220" y="201"/>
                </a:lnTo>
                <a:lnTo>
                  <a:pt x="201" y="207"/>
                </a:lnTo>
                <a:lnTo>
                  <a:pt x="190" y="225"/>
                </a:lnTo>
                <a:lnTo>
                  <a:pt x="162" y="249"/>
                </a:lnTo>
                <a:lnTo>
                  <a:pt x="158" y="290"/>
                </a:lnTo>
                <a:lnTo>
                  <a:pt x="151" y="305"/>
                </a:lnTo>
                <a:lnTo>
                  <a:pt x="151" y="329"/>
                </a:lnTo>
                <a:lnTo>
                  <a:pt x="180" y="348"/>
                </a:lnTo>
                <a:lnTo>
                  <a:pt x="183" y="366"/>
                </a:lnTo>
                <a:lnTo>
                  <a:pt x="200" y="389"/>
                </a:lnTo>
                <a:lnTo>
                  <a:pt x="206" y="407"/>
                </a:lnTo>
                <a:lnTo>
                  <a:pt x="207" y="431"/>
                </a:lnTo>
                <a:lnTo>
                  <a:pt x="203" y="457"/>
                </a:lnTo>
                <a:lnTo>
                  <a:pt x="214" y="501"/>
                </a:lnTo>
                <a:lnTo>
                  <a:pt x="234" y="540"/>
                </a:lnTo>
                <a:lnTo>
                  <a:pt x="229" y="602"/>
                </a:lnTo>
                <a:lnTo>
                  <a:pt x="252" y="656"/>
                </a:lnTo>
                <a:lnTo>
                  <a:pt x="257" y="707"/>
                </a:lnTo>
                <a:lnTo>
                  <a:pt x="266" y="729"/>
                </a:lnTo>
                <a:lnTo>
                  <a:pt x="305" y="760"/>
                </a:lnTo>
                <a:lnTo>
                  <a:pt x="319" y="791"/>
                </a:lnTo>
                <a:lnTo>
                  <a:pt x="319" y="818"/>
                </a:lnTo>
                <a:lnTo>
                  <a:pt x="307" y="865"/>
                </a:lnTo>
                <a:lnTo>
                  <a:pt x="302" y="875"/>
                </a:lnTo>
                <a:lnTo>
                  <a:pt x="307" y="887"/>
                </a:lnTo>
                <a:lnTo>
                  <a:pt x="292" y="912"/>
                </a:lnTo>
                <a:lnTo>
                  <a:pt x="270" y="923"/>
                </a:lnTo>
                <a:lnTo>
                  <a:pt x="265" y="938"/>
                </a:lnTo>
                <a:lnTo>
                  <a:pt x="237" y="978"/>
                </a:lnTo>
                <a:lnTo>
                  <a:pt x="212" y="991"/>
                </a:lnTo>
                <a:lnTo>
                  <a:pt x="208" y="1017"/>
                </a:lnTo>
                <a:lnTo>
                  <a:pt x="224" y="1015"/>
                </a:lnTo>
                <a:lnTo>
                  <a:pt x="237" y="1000"/>
                </a:lnTo>
                <a:lnTo>
                  <a:pt x="247" y="1003"/>
                </a:lnTo>
                <a:lnTo>
                  <a:pt x="253" y="1018"/>
                </a:lnTo>
                <a:lnTo>
                  <a:pt x="236" y="1030"/>
                </a:lnTo>
                <a:lnTo>
                  <a:pt x="262" y="1056"/>
                </a:lnTo>
                <a:lnTo>
                  <a:pt x="277" y="1055"/>
                </a:lnTo>
                <a:lnTo>
                  <a:pt x="295" y="1066"/>
                </a:lnTo>
                <a:lnTo>
                  <a:pt x="319" y="1088"/>
                </a:lnTo>
                <a:lnTo>
                  <a:pt x="328" y="1114"/>
                </a:lnTo>
                <a:lnTo>
                  <a:pt x="296" y="1090"/>
                </a:lnTo>
                <a:lnTo>
                  <a:pt x="280" y="1078"/>
                </a:lnTo>
                <a:lnTo>
                  <a:pt x="261" y="1076"/>
                </a:lnTo>
                <a:lnTo>
                  <a:pt x="263" y="1088"/>
                </a:lnTo>
                <a:lnTo>
                  <a:pt x="247" y="1082"/>
                </a:lnTo>
                <a:lnTo>
                  <a:pt x="229" y="1082"/>
                </a:lnTo>
                <a:lnTo>
                  <a:pt x="232" y="1106"/>
                </a:lnTo>
                <a:lnTo>
                  <a:pt x="236" y="1120"/>
                </a:lnTo>
                <a:lnTo>
                  <a:pt x="229" y="1150"/>
                </a:lnTo>
                <a:lnTo>
                  <a:pt x="221" y="1159"/>
                </a:lnTo>
                <a:lnTo>
                  <a:pt x="193" y="1159"/>
                </a:lnTo>
                <a:lnTo>
                  <a:pt x="190" y="1177"/>
                </a:lnTo>
                <a:lnTo>
                  <a:pt x="205" y="1195"/>
                </a:lnTo>
                <a:lnTo>
                  <a:pt x="214" y="1226"/>
                </a:lnTo>
                <a:lnTo>
                  <a:pt x="234" y="1240"/>
                </a:lnTo>
                <a:lnTo>
                  <a:pt x="234" y="1256"/>
                </a:lnTo>
                <a:lnTo>
                  <a:pt x="226" y="1265"/>
                </a:lnTo>
                <a:lnTo>
                  <a:pt x="228" y="1276"/>
                </a:lnTo>
                <a:lnTo>
                  <a:pt x="236" y="1286"/>
                </a:lnTo>
                <a:lnTo>
                  <a:pt x="252" y="1324"/>
                </a:lnTo>
                <a:lnTo>
                  <a:pt x="267" y="1339"/>
                </a:lnTo>
                <a:lnTo>
                  <a:pt x="280" y="1345"/>
                </a:lnTo>
                <a:lnTo>
                  <a:pt x="285" y="1380"/>
                </a:lnTo>
                <a:lnTo>
                  <a:pt x="270" y="1399"/>
                </a:lnTo>
                <a:lnTo>
                  <a:pt x="249" y="1420"/>
                </a:lnTo>
                <a:lnTo>
                  <a:pt x="240" y="1436"/>
                </a:lnTo>
                <a:lnTo>
                  <a:pt x="229" y="1441"/>
                </a:lnTo>
                <a:lnTo>
                  <a:pt x="211" y="1440"/>
                </a:lnTo>
                <a:lnTo>
                  <a:pt x="204" y="1449"/>
                </a:lnTo>
                <a:lnTo>
                  <a:pt x="209" y="1456"/>
                </a:lnTo>
                <a:lnTo>
                  <a:pt x="212" y="1489"/>
                </a:lnTo>
                <a:lnTo>
                  <a:pt x="196" y="1491"/>
                </a:lnTo>
                <a:lnTo>
                  <a:pt x="181" y="1504"/>
                </a:lnTo>
                <a:lnTo>
                  <a:pt x="178" y="1525"/>
                </a:lnTo>
                <a:lnTo>
                  <a:pt x="172" y="1542"/>
                </a:lnTo>
                <a:lnTo>
                  <a:pt x="167" y="1593"/>
                </a:lnTo>
                <a:lnTo>
                  <a:pt x="147" y="1592"/>
                </a:lnTo>
                <a:lnTo>
                  <a:pt x="132" y="1597"/>
                </a:lnTo>
                <a:lnTo>
                  <a:pt x="119" y="1614"/>
                </a:lnTo>
                <a:lnTo>
                  <a:pt x="102" y="1625"/>
                </a:lnTo>
                <a:lnTo>
                  <a:pt x="84" y="1614"/>
                </a:lnTo>
                <a:lnTo>
                  <a:pt x="63" y="1618"/>
                </a:lnTo>
                <a:lnTo>
                  <a:pt x="61" y="1641"/>
                </a:lnTo>
                <a:lnTo>
                  <a:pt x="71" y="1668"/>
                </a:lnTo>
                <a:lnTo>
                  <a:pt x="77" y="1710"/>
                </a:lnTo>
                <a:lnTo>
                  <a:pt x="48" y="1749"/>
                </a:lnTo>
                <a:lnTo>
                  <a:pt x="61" y="1767"/>
                </a:lnTo>
                <a:lnTo>
                  <a:pt x="55" y="1794"/>
                </a:lnTo>
                <a:lnTo>
                  <a:pt x="57" y="1819"/>
                </a:lnTo>
                <a:lnTo>
                  <a:pt x="70" y="1830"/>
                </a:lnTo>
                <a:lnTo>
                  <a:pt x="89" y="1860"/>
                </a:lnTo>
                <a:lnTo>
                  <a:pt x="102" y="1902"/>
                </a:lnTo>
                <a:lnTo>
                  <a:pt x="100" y="1927"/>
                </a:lnTo>
                <a:lnTo>
                  <a:pt x="32" y="1990"/>
                </a:lnTo>
                <a:lnTo>
                  <a:pt x="46" y="2038"/>
                </a:lnTo>
                <a:lnTo>
                  <a:pt x="16" y="2069"/>
                </a:lnTo>
                <a:lnTo>
                  <a:pt x="0" y="2083"/>
                </a:lnTo>
                <a:lnTo>
                  <a:pt x="0" y="2103"/>
                </a:lnTo>
                <a:lnTo>
                  <a:pt x="22" y="2139"/>
                </a:lnTo>
                <a:lnTo>
                  <a:pt x="49" y="2140"/>
                </a:lnTo>
                <a:lnTo>
                  <a:pt x="60" y="2144"/>
                </a:lnTo>
                <a:lnTo>
                  <a:pt x="80" y="2132"/>
                </a:lnTo>
                <a:lnTo>
                  <a:pt x="100" y="2129"/>
                </a:lnTo>
                <a:lnTo>
                  <a:pt x="114" y="2137"/>
                </a:lnTo>
                <a:lnTo>
                  <a:pt x="134" y="2136"/>
                </a:lnTo>
                <a:lnTo>
                  <a:pt x="160" y="2126"/>
                </a:lnTo>
                <a:lnTo>
                  <a:pt x="175" y="2131"/>
                </a:lnTo>
                <a:lnTo>
                  <a:pt x="188" y="2142"/>
                </a:lnTo>
                <a:lnTo>
                  <a:pt x="207" y="2143"/>
                </a:lnTo>
                <a:lnTo>
                  <a:pt x="228" y="2127"/>
                </a:lnTo>
                <a:lnTo>
                  <a:pt x="260" y="2126"/>
                </a:lnTo>
                <a:lnTo>
                  <a:pt x="274" y="2111"/>
                </a:lnTo>
                <a:lnTo>
                  <a:pt x="294" y="2117"/>
                </a:lnTo>
                <a:lnTo>
                  <a:pt x="310" y="2151"/>
                </a:lnTo>
                <a:lnTo>
                  <a:pt x="331" y="2167"/>
                </a:lnTo>
                <a:lnTo>
                  <a:pt x="342" y="2195"/>
                </a:lnTo>
                <a:lnTo>
                  <a:pt x="361" y="2216"/>
                </a:lnTo>
                <a:lnTo>
                  <a:pt x="367" y="2234"/>
                </a:lnTo>
                <a:lnTo>
                  <a:pt x="365" y="2259"/>
                </a:lnTo>
                <a:lnTo>
                  <a:pt x="365" y="2278"/>
                </a:lnTo>
                <a:lnTo>
                  <a:pt x="380" y="2300"/>
                </a:lnTo>
                <a:lnTo>
                  <a:pt x="384" y="2336"/>
                </a:lnTo>
                <a:lnTo>
                  <a:pt x="397" y="2342"/>
                </a:lnTo>
                <a:lnTo>
                  <a:pt x="420" y="2345"/>
                </a:lnTo>
                <a:lnTo>
                  <a:pt x="451" y="2339"/>
                </a:lnTo>
                <a:lnTo>
                  <a:pt x="480" y="2345"/>
                </a:lnTo>
                <a:lnTo>
                  <a:pt x="500" y="2332"/>
                </a:lnTo>
                <a:lnTo>
                  <a:pt x="478" y="2315"/>
                </a:lnTo>
                <a:lnTo>
                  <a:pt x="470" y="2283"/>
                </a:lnTo>
                <a:lnTo>
                  <a:pt x="493" y="2312"/>
                </a:lnTo>
                <a:lnTo>
                  <a:pt x="501" y="2306"/>
                </a:lnTo>
                <a:lnTo>
                  <a:pt x="487" y="2288"/>
                </a:lnTo>
                <a:lnTo>
                  <a:pt x="505" y="2297"/>
                </a:lnTo>
                <a:lnTo>
                  <a:pt x="520" y="2287"/>
                </a:lnTo>
                <a:lnTo>
                  <a:pt x="528" y="2270"/>
                </a:lnTo>
                <a:lnTo>
                  <a:pt x="520" y="2258"/>
                </a:lnTo>
                <a:lnTo>
                  <a:pt x="501" y="2246"/>
                </a:lnTo>
                <a:lnTo>
                  <a:pt x="527" y="2248"/>
                </a:lnTo>
                <a:lnTo>
                  <a:pt x="526" y="2231"/>
                </a:lnTo>
                <a:lnTo>
                  <a:pt x="538" y="2224"/>
                </a:lnTo>
                <a:lnTo>
                  <a:pt x="553" y="2209"/>
                </a:lnTo>
                <a:lnTo>
                  <a:pt x="561" y="2207"/>
                </a:lnTo>
                <a:lnTo>
                  <a:pt x="575" y="2206"/>
                </a:lnTo>
                <a:lnTo>
                  <a:pt x="587" y="2222"/>
                </a:lnTo>
                <a:lnTo>
                  <a:pt x="561" y="2231"/>
                </a:lnTo>
                <a:lnTo>
                  <a:pt x="562" y="2241"/>
                </a:lnTo>
                <a:lnTo>
                  <a:pt x="588" y="2251"/>
                </a:lnTo>
                <a:lnTo>
                  <a:pt x="592" y="2243"/>
                </a:lnTo>
                <a:lnTo>
                  <a:pt x="606" y="2247"/>
                </a:lnTo>
                <a:lnTo>
                  <a:pt x="623" y="2242"/>
                </a:lnTo>
                <a:lnTo>
                  <a:pt x="643" y="2238"/>
                </a:lnTo>
                <a:lnTo>
                  <a:pt x="656" y="2234"/>
                </a:lnTo>
                <a:lnTo>
                  <a:pt x="661" y="2250"/>
                </a:lnTo>
                <a:lnTo>
                  <a:pt x="636" y="2267"/>
                </a:lnTo>
                <a:lnTo>
                  <a:pt x="629" y="2289"/>
                </a:lnTo>
                <a:lnTo>
                  <a:pt x="617" y="2305"/>
                </a:lnTo>
                <a:lnTo>
                  <a:pt x="614" y="2327"/>
                </a:lnTo>
                <a:lnTo>
                  <a:pt x="635" y="2334"/>
                </a:lnTo>
                <a:lnTo>
                  <a:pt x="647" y="2336"/>
                </a:lnTo>
                <a:lnTo>
                  <a:pt x="661" y="2336"/>
                </a:lnTo>
                <a:lnTo>
                  <a:pt x="671" y="2339"/>
                </a:lnTo>
                <a:lnTo>
                  <a:pt x="677" y="2356"/>
                </a:lnTo>
                <a:lnTo>
                  <a:pt x="683" y="2371"/>
                </a:lnTo>
                <a:lnTo>
                  <a:pt x="677" y="2404"/>
                </a:lnTo>
                <a:lnTo>
                  <a:pt x="703" y="2416"/>
                </a:lnTo>
                <a:lnTo>
                  <a:pt x="713" y="2407"/>
                </a:lnTo>
                <a:lnTo>
                  <a:pt x="724" y="2390"/>
                </a:lnTo>
                <a:lnTo>
                  <a:pt x="733" y="2369"/>
                </a:lnTo>
                <a:lnTo>
                  <a:pt x="750" y="2360"/>
                </a:lnTo>
                <a:lnTo>
                  <a:pt x="768" y="2347"/>
                </a:lnTo>
                <a:lnTo>
                  <a:pt x="778" y="2326"/>
                </a:lnTo>
                <a:lnTo>
                  <a:pt x="788" y="2330"/>
                </a:lnTo>
                <a:lnTo>
                  <a:pt x="798" y="2335"/>
                </a:lnTo>
                <a:lnTo>
                  <a:pt x="816" y="2339"/>
                </a:lnTo>
                <a:lnTo>
                  <a:pt x="839" y="2326"/>
                </a:lnTo>
                <a:lnTo>
                  <a:pt x="852" y="2297"/>
                </a:lnTo>
                <a:lnTo>
                  <a:pt x="830" y="2297"/>
                </a:lnTo>
                <a:lnTo>
                  <a:pt x="815" y="2305"/>
                </a:lnTo>
                <a:lnTo>
                  <a:pt x="807" y="2295"/>
                </a:lnTo>
                <a:lnTo>
                  <a:pt x="795" y="2306"/>
                </a:lnTo>
                <a:lnTo>
                  <a:pt x="776" y="2306"/>
                </a:lnTo>
                <a:lnTo>
                  <a:pt x="761" y="2299"/>
                </a:lnTo>
                <a:lnTo>
                  <a:pt x="756" y="2276"/>
                </a:lnTo>
                <a:lnTo>
                  <a:pt x="743" y="2260"/>
                </a:lnTo>
                <a:lnTo>
                  <a:pt x="733" y="2251"/>
                </a:lnTo>
                <a:lnTo>
                  <a:pt x="727" y="2247"/>
                </a:lnTo>
                <a:lnTo>
                  <a:pt x="716" y="2240"/>
                </a:lnTo>
                <a:lnTo>
                  <a:pt x="690" y="2237"/>
                </a:lnTo>
                <a:lnTo>
                  <a:pt x="670" y="2217"/>
                </a:lnTo>
                <a:lnTo>
                  <a:pt x="701" y="2214"/>
                </a:lnTo>
                <a:lnTo>
                  <a:pt x="728" y="2207"/>
                </a:lnTo>
                <a:lnTo>
                  <a:pt x="747" y="2186"/>
                </a:lnTo>
                <a:lnTo>
                  <a:pt x="818" y="2156"/>
                </a:lnTo>
                <a:lnTo>
                  <a:pt x="861" y="2126"/>
                </a:lnTo>
                <a:lnTo>
                  <a:pt x="927" y="2108"/>
                </a:lnTo>
                <a:lnTo>
                  <a:pt x="978" y="2091"/>
                </a:lnTo>
                <a:lnTo>
                  <a:pt x="1011" y="2093"/>
                </a:lnTo>
                <a:lnTo>
                  <a:pt x="969" y="2126"/>
                </a:lnTo>
                <a:lnTo>
                  <a:pt x="996" y="2141"/>
                </a:lnTo>
                <a:lnTo>
                  <a:pt x="942" y="2147"/>
                </a:lnTo>
                <a:lnTo>
                  <a:pt x="944" y="2169"/>
                </a:lnTo>
                <a:lnTo>
                  <a:pt x="983" y="2194"/>
                </a:lnTo>
                <a:lnTo>
                  <a:pt x="954" y="2196"/>
                </a:lnTo>
                <a:lnTo>
                  <a:pt x="933" y="2222"/>
                </a:lnTo>
                <a:lnTo>
                  <a:pt x="921" y="2247"/>
                </a:lnTo>
                <a:lnTo>
                  <a:pt x="918" y="2285"/>
                </a:lnTo>
                <a:lnTo>
                  <a:pt x="898" y="2309"/>
                </a:lnTo>
                <a:lnTo>
                  <a:pt x="886" y="2306"/>
                </a:lnTo>
                <a:lnTo>
                  <a:pt x="870" y="2301"/>
                </a:lnTo>
                <a:lnTo>
                  <a:pt x="879" y="2321"/>
                </a:lnTo>
                <a:lnTo>
                  <a:pt x="866" y="2332"/>
                </a:lnTo>
                <a:lnTo>
                  <a:pt x="905" y="2345"/>
                </a:lnTo>
                <a:lnTo>
                  <a:pt x="936" y="2372"/>
                </a:lnTo>
                <a:lnTo>
                  <a:pt x="993" y="2380"/>
                </a:lnTo>
                <a:lnTo>
                  <a:pt x="1068" y="2387"/>
                </a:lnTo>
                <a:lnTo>
                  <a:pt x="1116" y="2396"/>
                </a:lnTo>
                <a:lnTo>
                  <a:pt x="1173" y="2405"/>
                </a:lnTo>
                <a:lnTo>
                  <a:pt x="1236" y="2424"/>
                </a:lnTo>
                <a:lnTo>
                  <a:pt x="1267" y="2431"/>
                </a:lnTo>
                <a:lnTo>
                  <a:pt x="1291" y="2453"/>
                </a:lnTo>
                <a:lnTo>
                  <a:pt x="1300" y="2480"/>
                </a:lnTo>
                <a:lnTo>
                  <a:pt x="1303" y="2512"/>
                </a:lnTo>
                <a:lnTo>
                  <a:pt x="1359" y="2515"/>
                </a:lnTo>
                <a:lnTo>
                  <a:pt x="1381" y="2489"/>
                </a:lnTo>
                <a:lnTo>
                  <a:pt x="1398" y="2493"/>
                </a:lnTo>
                <a:lnTo>
                  <a:pt x="1402" y="2507"/>
                </a:lnTo>
                <a:lnTo>
                  <a:pt x="1447" y="2517"/>
                </a:lnTo>
                <a:lnTo>
                  <a:pt x="1470" y="2575"/>
                </a:lnTo>
                <a:lnTo>
                  <a:pt x="1553" y="2578"/>
                </a:lnTo>
                <a:lnTo>
                  <a:pt x="1580" y="2613"/>
                </a:lnTo>
                <a:lnTo>
                  <a:pt x="1603" y="2629"/>
                </a:lnTo>
                <a:lnTo>
                  <a:pt x="1630" y="2632"/>
                </a:lnTo>
                <a:lnTo>
                  <a:pt x="1663" y="2653"/>
                </a:lnTo>
                <a:lnTo>
                  <a:pt x="1700" y="2641"/>
                </a:lnTo>
                <a:lnTo>
                  <a:pt x="1715" y="2620"/>
                </a:lnTo>
                <a:lnTo>
                  <a:pt x="1733" y="2591"/>
                </a:lnTo>
                <a:lnTo>
                  <a:pt x="1766" y="2594"/>
                </a:lnTo>
                <a:lnTo>
                  <a:pt x="1781" y="2611"/>
                </a:lnTo>
                <a:lnTo>
                  <a:pt x="1769" y="2650"/>
                </a:lnTo>
                <a:lnTo>
                  <a:pt x="1832" y="2686"/>
                </a:lnTo>
                <a:lnTo>
                  <a:pt x="1832" y="2635"/>
                </a:lnTo>
                <a:lnTo>
                  <a:pt x="1832" y="2617"/>
                </a:lnTo>
                <a:lnTo>
                  <a:pt x="1844" y="2608"/>
                </a:lnTo>
                <a:lnTo>
                  <a:pt x="1862" y="2638"/>
                </a:lnTo>
                <a:lnTo>
                  <a:pt x="1850" y="2552"/>
                </a:lnTo>
                <a:lnTo>
                  <a:pt x="1868" y="2516"/>
                </a:lnTo>
                <a:lnTo>
                  <a:pt x="1886" y="2498"/>
                </a:lnTo>
                <a:lnTo>
                  <a:pt x="1910" y="2480"/>
                </a:lnTo>
                <a:lnTo>
                  <a:pt x="1859" y="2471"/>
                </a:lnTo>
                <a:lnTo>
                  <a:pt x="1832" y="2471"/>
                </a:lnTo>
                <a:lnTo>
                  <a:pt x="1742" y="2390"/>
                </a:lnTo>
                <a:lnTo>
                  <a:pt x="1700" y="2345"/>
                </a:lnTo>
                <a:lnTo>
                  <a:pt x="1681" y="2255"/>
                </a:lnTo>
                <a:lnTo>
                  <a:pt x="1672" y="2309"/>
                </a:lnTo>
                <a:lnTo>
                  <a:pt x="1660" y="2252"/>
                </a:lnTo>
                <a:lnTo>
                  <a:pt x="1606" y="2201"/>
                </a:lnTo>
                <a:lnTo>
                  <a:pt x="1579" y="2156"/>
                </a:lnTo>
                <a:lnTo>
                  <a:pt x="1588" y="2102"/>
                </a:lnTo>
                <a:lnTo>
                  <a:pt x="1606" y="2066"/>
                </a:lnTo>
                <a:lnTo>
                  <a:pt x="1624" y="2013"/>
                </a:lnTo>
                <a:lnTo>
                  <a:pt x="1651" y="1968"/>
                </a:lnTo>
                <a:lnTo>
                  <a:pt x="1651" y="1932"/>
                </a:lnTo>
                <a:lnTo>
                  <a:pt x="1715" y="1932"/>
                </a:lnTo>
                <a:lnTo>
                  <a:pt x="1650" y="1931"/>
                </a:lnTo>
                <a:lnTo>
                  <a:pt x="1646" y="1979"/>
                </a:lnTo>
                <a:lnTo>
                  <a:pt x="1614" y="2024"/>
                </a:lnTo>
                <a:lnTo>
                  <a:pt x="1606" y="2060"/>
                </a:lnTo>
                <a:lnTo>
                  <a:pt x="1588" y="2094"/>
                </a:lnTo>
                <a:lnTo>
                  <a:pt x="1582" y="2124"/>
                </a:lnTo>
                <a:lnTo>
                  <a:pt x="1580" y="2156"/>
                </a:lnTo>
                <a:lnTo>
                  <a:pt x="1608" y="2204"/>
                </a:lnTo>
                <a:lnTo>
                  <a:pt x="1638" y="2230"/>
                </a:lnTo>
                <a:lnTo>
                  <a:pt x="1654" y="2248"/>
                </a:lnTo>
                <a:lnTo>
                  <a:pt x="1668" y="2310"/>
                </a:lnTo>
                <a:lnTo>
                  <a:pt x="1682" y="2256"/>
                </a:lnTo>
                <a:lnTo>
                  <a:pt x="1668" y="2306"/>
                </a:lnTo>
                <a:lnTo>
                  <a:pt x="1660" y="2274"/>
                </a:lnTo>
                <a:lnTo>
                  <a:pt x="1656" y="2252"/>
                </a:lnTo>
                <a:lnTo>
                  <a:pt x="1640" y="2232"/>
                </a:lnTo>
                <a:lnTo>
                  <a:pt x="1624" y="2220"/>
                </a:lnTo>
                <a:lnTo>
                  <a:pt x="1606" y="2206"/>
                </a:lnTo>
                <a:lnTo>
                  <a:pt x="1598" y="2190"/>
                </a:lnTo>
                <a:lnTo>
                  <a:pt x="1588" y="2176"/>
                </a:lnTo>
                <a:lnTo>
                  <a:pt x="1582" y="2158"/>
                </a:lnTo>
                <a:lnTo>
                  <a:pt x="1582" y="2146"/>
                </a:lnTo>
                <a:lnTo>
                  <a:pt x="1584" y="2122"/>
                </a:lnTo>
                <a:lnTo>
                  <a:pt x="1598" y="2082"/>
                </a:lnTo>
                <a:lnTo>
                  <a:pt x="1610" y="2058"/>
                </a:lnTo>
                <a:lnTo>
                  <a:pt x="1612" y="2038"/>
                </a:lnTo>
                <a:lnTo>
                  <a:pt x="1620" y="2020"/>
                </a:lnTo>
                <a:lnTo>
                  <a:pt x="1632" y="2001"/>
                </a:lnTo>
                <a:lnTo>
                  <a:pt x="1642" y="1985"/>
                </a:lnTo>
                <a:lnTo>
                  <a:pt x="1650" y="1967"/>
                </a:lnTo>
                <a:lnTo>
                  <a:pt x="1650" y="1945"/>
                </a:lnTo>
                <a:lnTo>
                  <a:pt x="1654" y="1931"/>
                </a:lnTo>
                <a:lnTo>
                  <a:pt x="1686" y="1933"/>
                </a:lnTo>
                <a:lnTo>
                  <a:pt x="1715" y="1931"/>
                </a:lnTo>
                <a:lnTo>
                  <a:pt x="1739" y="1905"/>
                </a:lnTo>
                <a:lnTo>
                  <a:pt x="1755" y="1885"/>
                </a:lnTo>
                <a:lnTo>
                  <a:pt x="1775" y="1871"/>
                </a:lnTo>
                <a:lnTo>
                  <a:pt x="1743" y="1829"/>
                </a:lnTo>
                <a:lnTo>
                  <a:pt x="1709" y="1787"/>
                </a:lnTo>
                <a:lnTo>
                  <a:pt x="1709" y="1721"/>
                </a:lnTo>
                <a:lnTo>
                  <a:pt x="1775" y="1685"/>
                </a:lnTo>
                <a:lnTo>
                  <a:pt x="1853" y="1661"/>
                </a:lnTo>
                <a:lnTo>
                  <a:pt x="1919" y="1625"/>
                </a:lnTo>
                <a:lnTo>
                  <a:pt x="1925" y="1583"/>
                </a:lnTo>
                <a:lnTo>
                  <a:pt x="1853" y="1529"/>
                </a:lnTo>
                <a:lnTo>
                  <a:pt x="1781" y="1457"/>
                </a:lnTo>
                <a:lnTo>
                  <a:pt x="1727" y="1414"/>
                </a:lnTo>
                <a:lnTo>
                  <a:pt x="1733" y="1312"/>
                </a:lnTo>
                <a:lnTo>
                  <a:pt x="1630" y="1216"/>
                </a:lnTo>
                <a:lnTo>
                  <a:pt x="1528" y="1078"/>
                </a:lnTo>
                <a:lnTo>
                  <a:pt x="1450" y="934"/>
                </a:lnTo>
                <a:lnTo>
                  <a:pt x="1402" y="807"/>
                </a:lnTo>
                <a:lnTo>
                  <a:pt x="1342" y="663"/>
                </a:lnTo>
                <a:lnTo>
                  <a:pt x="1306" y="531"/>
                </a:lnTo>
                <a:lnTo>
                  <a:pt x="1318" y="411"/>
                </a:lnTo>
                <a:lnTo>
                  <a:pt x="1348" y="303"/>
                </a:lnTo>
                <a:lnTo>
                  <a:pt x="1360" y="176"/>
                </a:lnTo>
                <a:lnTo>
                  <a:pt x="1348" y="92"/>
                </a:lnTo>
                <a:lnTo>
                  <a:pt x="1280" y="64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05" name="Freeform 5"/>
          <p:cNvSpPr>
            <a:spLocks noChangeAspect="1"/>
          </p:cNvSpPr>
          <p:nvPr/>
        </p:nvSpPr>
        <p:spPr bwMode="auto">
          <a:xfrm>
            <a:off x="533251" y="4621560"/>
            <a:ext cx="422275" cy="565150"/>
          </a:xfrm>
          <a:custGeom>
            <a:avLst/>
            <a:gdLst>
              <a:gd name="T0" fmla="*/ 177438 w 307"/>
              <a:gd name="T1" fmla="*/ 0 h 436"/>
              <a:gd name="T2" fmla="*/ 192568 w 307"/>
              <a:gd name="T3" fmla="*/ 34998 h 436"/>
              <a:gd name="T4" fmla="*/ 211825 w 307"/>
              <a:gd name="T5" fmla="*/ 34998 h 436"/>
              <a:gd name="T6" fmla="*/ 255841 w 307"/>
              <a:gd name="T7" fmla="*/ 41479 h 436"/>
              <a:gd name="T8" fmla="*/ 280600 w 307"/>
              <a:gd name="T9" fmla="*/ 51849 h 436"/>
              <a:gd name="T10" fmla="*/ 299856 w 307"/>
              <a:gd name="T11" fmla="*/ 82958 h 436"/>
              <a:gd name="T12" fmla="*/ 302607 w 307"/>
              <a:gd name="T13" fmla="*/ 94624 h 436"/>
              <a:gd name="T14" fmla="*/ 247588 w 307"/>
              <a:gd name="T15" fmla="*/ 116659 h 436"/>
              <a:gd name="T16" fmla="*/ 232458 w 307"/>
              <a:gd name="T17" fmla="*/ 154250 h 436"/>
              <a:gd name="T18" fmla="*/ 214576 w 307"/>
              <a:gd name="T19" fmla="*/ 190544 h 436"/>
              <a:gd name="T20" fmla="*/ 203572 w 307"/>
              <a:gd name="T21" fmla="*/ 216468 h 436"/>
              <a:gd name="T22" fmla="*/ 180189 w 307"/>
              <a:gd name="T23" fmla="*/ 211283 h 436"/>
              <a:gd name="T24" fmla="*/ 174687 w 307"/>
              <a:gd name="T25" fmla="*/ 238504 h 436"/>
              <a:gd name="T26" fmla="*/ 177438 w 307"/>
              <a:gd name="T27" fmla="*/ 267020 h 436"/>
              <a:gd name="T28" fmla="*/ 154055 w 307"/>
              <a:gd name="T29" fmla="*/ 291649 h 436"/>
              <a:gd name="T30" fmla="*/ 152679 w 307"/>
              <a:gd name="T31" fmla="*/ 329239 h 436"/>
              <a:gd name="T32" fmla="*/ 155430 w 307"/>
              <a:gd name="T33" fmla="*/ 349978 h 436"/>
              <a:gd name="T34" fmla="*/ 115541 w 307"/>
              <a:gd name="T35" fmla="*/ 368125 h 436"/>
              <a:gd name="T36" fmla="*/ 115541 w 307"/>
              <a:gd name="T37" fmla="*/ 400531 h 436"/>
              <a:gd name="T38" fmla="*/ 59146 w 307"/>
              <a:gd name="T39" fmla="*/ 404419 h 436"/>
              <a:gd name="T40" fmla="*/ 17881 w 307"/>
              <a:gd name="T41" fmla="*/ 377199 h 436"/>
              <a:gd name="T42" fmla="*/ 0 w 307"/>
              <a:gd name="T43" fmla="*/ 366829 h 436"/>
              <a:gd name="T44" fmla="*/ 22008 w 307"/>
              <a:gd name="T45" fmla="*/ 335720 h 436"/>
              <a:gd name="T46" fmla="*/ 48142 w 307"/>
              <a:gd name="T47" fmla="*/ 291649 h 436"/>
              <a:gd name="T48" fmla="*/ 44016 w 307"/>
              <a:gd name="T49" fmla="*/ 268317 h 436"/>
              <a:gd name="T50" fmla="*/ 30261 w 307"/>
              <a:gd name="T51" fmla="*/ 251466 h 436"/>
              <a:gd name="T52" fmla="*/ 52269 w 307"/>
              <a:gd name="T53" fmla="*/ 233319 h 436"/>
              <a:gd name="T54" fmla="*/ 22008 w 307"/>
              <a:gd name="T55" fmla="*/ 237207 h 436"/>
              <a:gd name="T56" fmla="*/ 30261 w 307"/>
              <a:gd name="T57" fmla="*/ 209987 h 436"/>
              <a:gd name="T58" fmla="*/ 41265 w 307"/>
              <a:gd name="T59" fmla="*/ 185359 h 436"/>
              <a:gd name="T60" fmla="*/ 52269 w 307"/>
              <a:gd name="T61" fmla="*/ 171100 h 436"/>
              <a:gd name="T62" fmla="*/ 82529 w 307"/>
              <a:gd name="T63" fmla="*/ 154250 h 436"/>
              <a:gd name="T64" fmla="*/ 122418 w 307"/>
              <a:gd name="T65" fmla="*/ 106290 h 436"/>
              <a:gd name="T66" fmla="*/ 137549 w 307"/>
              <a:gd name="T67" fmla="*/ 72588 h 436"/>
              <a:gd name="T68" fmla="*/ 148553 w 307"/>
              <a:gd name="T69" fmla="*/ 34998 h 4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07"/>
              <a:gd name="T106" fmla="*/ 0 h 436"/>
              <a:gd name="T107" fmla="*/ 307 w 307"/>
              <a:gd name="T108" fmla="*/ 436 h 4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07" h="436">
                <a:moveTo>
                  <a:pt x="155" y="4"/>
                </a:moveTo>
                <a:lnTo>
                  <a:pt x="177" y="0"/>
                </a:lnTo>
                <a:lnTo>
                  <a:pt x="192" y="17"/>
                </a:lnTo>
                <a:lnTo>
                  <a:pt x="194" y="37"/>
                </a:lnTo>
                <a:lnTo>
                  <a:pt x="200" y="41"/>
                </a:lnTo>
                <a:lnTo>
                  <a:pt x="211" y="38"/>
                </a:lnTo>
                <a:lnTo>
                  <a:pt x="246" y="52"/>
                </a:lnTo>
                <a:lnTo>
                  <a:pt x="256" y="45"/>
                </a:lnTo>
                <a:lnTo>
                  <a:pt x="271" y="44"/>
                </a:lnTo>
                <a:lnTo>
                  <a:pt x="280" y="56"/>
                </a:lnTo>
                <a:lnTo>
                  <a:pt x="288" y="76"/>
                </a:lnTo>
                <a:lnTo>
                  <a:pt x="299" y="89"/>
                </a:lnTo>
                <a:lnTo>
                  <a:pt x="307" y="96"/>
                </a:lnTo>
                <a:lnTo>
                  <a:pt x="304" y="103"/>
                </a:lnTo>
                <a:lnTo>
                  <a:pt x="278" y="110"/>
                </a:lnTo>
                <a:lnTo>
                  <a:pt x="248" y="126"/>
                </a:lnTo>
                <a:lnTo>
                  <a:pt x="249" y="153"/>
                </a:lnTo>
                <a:lnTo>
                  <a:pt x="232" y="167"/>
                </a:lnTo>
                <a:lnTo>
                  <a:pt x="218" y="179"/>
                </a:lnTo>
                <a:lnTo>
                  <a:pt x="216" y="205"/>
                </a:lnTo>
                <a:lnTo>
                  <a:pt x="216" y="222"/>
                </a:lnTo>
                <a:lnTo>
                  <a:pt x="205" y="234"/>
                </a:lnTo>
                <a:lnTo>
                  <a:pt x="196" y="222"/>
                </a:lnTo>
                <a:lnTo>
                  <a:pt x="180" y="227"/>
                </a:lnTo>
                <a:lnTo>
                  <a:pt x="178" y="235"/>
                </a:lnTo>
                <a:lnTo>
                  <a:pt x="175" y="257"/>
                </a:lnTo>
                <a:lnTo>
                  <a:pt x="181" y="265"/>
                </a:lnTo>
                <a:lnTo>
                  <a:pt x="178" y="287"/>
                </a:lnTo>
                <a:lnTo>
                  <a:pt x="168" y="297"/>
                </a:lnTo>
                <a:lnTo>
                  <a:pt x="155" y="314"/>
                </a:lnTo>
                <a:lnTo>
                  <a:pt x="149" y="328"/>
                </a:lnTo>
                <a:lnTo>
                  <a:pt x="152" y="354"/>
                </a:lnTo>
                <a:lnTo>
                  <a:pt x="163" y="369"/>
                </a:lnTo>
                <a:lnTo>
                  <a:pt x="156" y="378"/>
                </a:lnTo>
                <a:lnTo>
                  <a:pt x="127" y="387"/>
                </a:lnTo>
                <a:lnTo>
                  <a:pt x="116" y="398"/>
                </a:lnTo>
                <a:lnTo>
                  <a:pt x="115" y="410"/>
                </a:lnTo>
                <a:lnTo>
                  <a:pt x="115" y="432"/>
                </a:lnTo>
                <a:lnTo>
                  <a:pt x="82" y="432"/>
                </a:lnTo>
                <a:lnTo>
                  <a:pt x="59" y="436"/>
                </a:lnTo>
                <a:lnTo>
                  <a:pt x="33" y="406"/>
                </a:lnTo>
                <a:lnTo>
                  <a:pt x="19" y="406"/>
                </a:lnTo>
                <a:lnTo>
                  <a:pt x="7" y="406"/>
                </a:lnTo>
                <a:lnTo>
                  <a:pt x="0" y="395"/>
                </a:lnTo>
                <a:lnTo>
                  <a:pt x="7" y="384"/>
                </a:lnTo>
                <a:lnTo>
                  <a:pt x="22" y="362"/>
                </a:lnTo>
                <a:lnTo>
                  <a:pt x="30" y="340"/>
                </a:lnTo>
                <a:lnTo>
                  <a:pt x="48" y="314"/>
                </a:lnTo>
                <a:lnTo>
                  <a:pt x="52" y="299"/>
                </a:lnTo>
                <a:lnTo>
                  <a:pt x="44" y="288"/>
                </a:lnTo>
                <a:lnTo>
                  <a:pt x="33" y="278"/>
                </a:lnTo>
                <a:lnTo>
                  <a:pt x="30" y="272"/>
                </a:lnTo>
                <a:lnTo>
                  <a:pt x="44" y="267"/>
                </a:lnTo>
                <a:lnTo>
                  <a:pt x="52" y="252"/>
                </a:lnTo>
                <a:lnTo>
                  <a:pt x="37" y="248"/>
                </a:lnTo>
                <a:lnTo>
                  <a:pt x="22" y="256"/>
                </a:lnTo>
                <a:lnTo>
                  <a:pt x="22" y="237"/>
                </a:lnTo>
                <a:lnTo>
                  <a:pt x="30" y="226"/>
                </a:lnTo>
                <a:lnTo>
                  <a:pt x="37" y="215"/>
                </a:lnTo>
                <a:lnTo>
                  <a:pt x="41" y="200"/>
                </a:lnTo>
                <a:lnTo>
                  <a:pt x="44" y="189"/>
                </a:lnTo>
                <a:lnTo>
                  <a:pt x="52" y="186"/>
                </a:lnTo>
                <a:lnTo>
                  <a:pt x="63" y="193"/>
                </a:lnTo>
                <a:lnTo>
                  <a:pt x="82" y="167"/>
                </a:lnTo>
                <a:lnTo>
                  <a:pt x="93" y="149"/>
                </a:lnTo>
                <a:lnTo>
                  <a:pt x="122" y="115"/>
                </a:lnTo>
                <a:lnTo>
                  <a:pt x="122" y="101"/>
                </a:lnTo>
                <a:lnTo>
                  <a:pt x="137" y="78"/>
                </a:lnTo>
                <a:lnTo>
                  <a:pt x="141" y="52"/>
                </a:lnTo>
                <a:lnTo>
                  <a:pt x="148" y="38"/>
                </a:lnTo>
                <a:lnTo>
                  <a:pt x="155" y="4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07" name="Freeform 6"/>
          <p:cNvSpPr>
            <a:spLocks noChangeAspect="1"/>
          </p:cNvSpPr>
          <p:nvPr/>
        </p:nvSpPr>
        <p:spPr bwMode="auto">
          <a:xfrm>
            <a:off x="690414" y="4443760"/>
            <a:ext cx="1117600" cy="930275"/>
          </a:xfrm>
          <a:custGeom>
            <a:avLst/>
            <a:gdLst>
              <a:gd name="T0" fmla="*/ 37207 w 811"/>
              <a:gd name="T1" fmla="*/ 120495 h 718"/>
              <a:gd name="T2" fmla="*/ 63390 w 811"/>
              <a:gd name="T3" fmla="*/ 72556 h 718"/>
              <a:gd name="T4" fmla="*/ 56500 w 811"/>
              <a:gd name="T5" fmla="*/ 54417 h 718"/>
              <a:gd name="T6" fmla="*/ 44098 w 811"/>
              <a:gd name="T7" fmla="*/ 38869 h 718"/>
              <a:gd name="T8" fmla="*/ 89573 w 811"/>
              <a:gd name="T9" fmla="*/ 16843 h 718"/>
              <a:gd name="T10" fmla="*/ 122647 w 811"/>
              <a:gd name="T11" fmla="*/ 10365 h 718"/>
              <a:gd name="T12" fmla="*/ 157098 w 811"/>
              <a:gd name="T13" fmla="*/ 5183 h 718"/>
              <a:gd name="T14" fmla="*/ 224622 w 811"/>
              <a:gd name="T15" fmla="*/ 51826 h 718"/>
              <a:gd name="T16" fmla="*/ 271476 w 811"/>
              <a:gd name="T17" fmla="*/ 54417 h 718"/>
              <a:gd name="T18" fmla="*/ 401013 w 811"/>
              <a:gd name="T19" fmla="*/ 111426 h 718"/>
              <a:gd name="T20" fmla="*/ 456135 w 811"/>
              <a:gd name="T21" fmla="*/ 124382 h 718"/>
              <a:gd name="T22" fmla="*/ 494721 w 811"/>
              <a:gd name="T23" fmla="*/ 151591 h 718"/>
              <a:gd name="T24" fmla="*/ 530550 w 811"/>
              <a:gd name="T25" fmla="*/ 155478 h 718"/>
              <a:gd name="T26" fmla="*/ 530550 w 811"/>
              <a:gd name="T27" fmla="*/ 172321 h 718"/>
              <a:gd name="T28" fmla="*/ 589806 w 811"/>
              <a:gd name="T29" fmla="*/ 224147 h 718"/>
              <a:gd name="T30" fmla="*/ 639416 w 811"/>
              <a:gd name="T31" fmla="*/ 244877 h 718"/>
              <a:gd name="T32" fmla="*/ 713831 w 811"/>
              <a:gd name="T33" fmla="*/ 264312 h 718"/>
              <a:gd name="T34" fmla="*/ 728990 w 811"/>
              <a:gd name="T35" fmla="*/ 290225 h 718"/>
              <a:gd name="T36" fmla="*/ 759307 w 811"/>
              <a:gd name="T37" fmla="*/ 299295 h 718"/>
              <a:gd name="T38" fmla="*/ 788246 w 811"/>
              <a:gd name="T39" fmla="*/ 299295 h 718"/>
              <a:gd name="T40" fmla="*/ 808916 w 811"/>
              <a:gd name="T41" fmla="*/ 299295 h 718"/>
              <a:gd name="T42" fmla="*/ 814429 w 811"/>
              <a:gd name="T43" fmla="*/ 331686 h 718"/>
              <a:gd name="T44" fmla="*/ 744148 w 811"/>
              <a:gd name="T45" fmla="*/ 383512 h 718"/>
              <a:gd name="T46" fmla="*/ 642172 w 811"/>
              <a:gd name="T47" fmla="*/ 399059 h 718"/>
              <a:gd name="T48" fmla="*/ 617367 w 811"/>
              <a:gd name="T49" fmla="*/ 422381 h 718"/>
              <a:gd name="T50" fmla="*/ 587050 w 811"/>
              <a:gd name="T51" fmla="*/ 432746 h 718"/>
              <a:gd name="T52" fmla="*/ 556733 w 811"/>
              <a:gd name="T53" fmla="*/ 463842 h 718"/>
              <a:gd name="T54" fmla="*/ 523660 w 811"/>
              <a:gd name="T55" fmla="*/ 484572 h 718"/>
              <a:gd name="T56" fmla="*/ 534684 w 811"/>
              <a:gd name="T57" fmla="*/ 522146 h 718"/>
              <a:gd name="T58" fmla="*/ 538818 w 811"/>
              <a:gd name="T59" fmla="*/ 550650 h 718"/>
              <a:gd name="T60" fmla="*/ 519526 w 811"/>
              <a:gd name="T61" fmla="*/ 561015 h 718"/>
              <a:gd name="T62" fmla="*/ 467160 w 811"/>
              <a:gd name="T63" fmla="*/ 602476 h 718"/>
              <a:gd name="T64" fmla="*/ 449245 w 811"/>
              <a:gd name="T65" fmla="*/ 619320 h 718"/>
              <a:gd name="T66" fmla="*/ 416172 w 811"/>
              <a:gd name="T67" fmla="*/ 629685 h 718"/>
              <a:gd name="T68" fmla="*/ 381720 w 811"/>
              <a:gd name="T69" fmla="*/ 637459 h 718"/>
              <a:gd name="T70" fmla="*/ 363806 w 811"/>
              <a:gd name="T71" fmla="*/ 658189 h 718"/>
              <a:gd name="T72" fmla="*/ 333489 w 811"/>
              <a:gd name="T73" fmla="*/ 663372 h 718"/>
              <a:gd name="T74" fmla="*/ 274232 w 811"/>
              <a:gd name="T75" fmla="*/ 658189 h 718"/>
              <a:gd name="T76" fmla="*/ 183281 w 811"/>
              <a:gd name="T77" fmla="*/ 629685 h 718"/>
              <a:gd name="T78" fmla="*/ 137805 w 811"/>
              <a:gd name="T79" fmla="*/ 647824 h 718"/>
              <a:gd name="T80" fmla="*/ 95086 w 811"/>
              <a:gd name="T81" fmla="*/ 660780 h 718"/>
              <a:gd name="T82" fmla="*/ 44098 w 811"/>
              <a:gd name="T83" fmla="*/ 627093 h 718"/>
              <a:gd name="T84" fmla="*/ 26183 w 811"/>
              <a:gd name="T85" fmla="*/ 548059 h 718"/>
              <a:gd name="T86" fmla="*/ 0 w 811"/>
              <a:gd name="T87" fmla="*/ 520850 h 718"/>
              <a:gd name="T88" fmla="*/ 11024 w 811"/>
              <a:gd name="T89" fmla="*/ 488459 h 718"/>
              <a:gd name="T90" fmla="*/ 48232 w 811"/>
              <a:gd name="T91" fmla="*/ 471616 h 718"/>
              <a:gd name="T92" fmla="*/ 33073 w 811"/>
              <a:gd name="T93" fmla="*/ 432746 h 718"/>
              <a:gd name="T94" fmla="*/ 67525 w 811"/>
              <a:gd name="T95" fmla="*/ 393877 h 718"/>
              <a:gd name="T96" fmla="*/ 59256 w 811"/>
              <a:gd name="T97" fmla="*/ 361486 h 718"/>
              <a:gd name="T98" fmla="*/ 70281 w 811"/>
              <a:gd name="T99" fmla="*/ 334277 h 718"/>
              <a:gd name="T100" fmla="*/ 89573 w 811"/>
              <a:gd name="T101" fmla="*/ 344642 h 718"/>
              <a:gd name="T102" fmla="*/ 106110 w 811"/>
              <a:gd name="T103" fmla="*/ 294112 h 718"/>
              <a:gd name="T104" fmla="*/ 133671 w 811"/>
              <a:gd name="T105" fmla="*/ 253947 h 718"/>
              <a:gd name="T106" fmla="*/ 165366 w 811"/>
              <a:gd name="T107" fmla="*/ 228034 h 718"/>
              <a:gd name="T108" fmla="*/ 195683 w 811"/>
              <a:gd name="T109" fmla="*/ 216373 h 718"/>
              <a:gd name="T110" fmla="*/ 161232 w 811"/>
              <a:gd name="T111" fmla="*/ 172321 h 718"/>
              <a:gd name="T112" fmla="*/ 130915 w 811"/>
              <a:gd name="T113" fmla="*/ 174912 h 718"/>
              <a:gd name="T114" fmla="*/ 93708 w 811"/>
              <a:gd name="T115" fmla="*/ 161956 h 718"/>
              <a:gd name="T116" fmla="*/ 78549 w 811"/>
              <a:gd name="T117" fmla="*/ 158069 h 718"/>
              <a:gd name="T118" fmla="*/ 67525 w 811"/>
              <a:gd name="T119" fmla="*/ 130860 h 718"/>
              <a:gd name="T120" fmla="*/ 41342 w 811"/>
              <a:gd name="T121" fmla="*/ 130860 h 71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11"/>
              <a:gd name="T184" fmla="*/ 0 h 718"/>
              <a:gd name="T185" fmla="*/ 811 w 811"/>
              <a:gd name="T186" fmla="*/ 718 h 71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11" h="718">
                <a:moveTo>
                  <a:pt x="41" y="141"/>
                </a:moveTo>
                <a:lnTo>
                  <a:pt x="37" y="130"/>
                </a:lnTo>
                <a:lnTo>
                  <a:pt x="41" y="115"/>
                </a:lnTo>
                <a:lnTo>
                  <a:pt x="63" y="78"/>
                </a:lnTo>
                <a:lnTo>
                  <a:pt x="52" y="70"/>
                </a:lnTo>
                <a:lnTo>
                  <a:pt x="56" y="59"/>
                </a:lnTo>
                <a:lnTo>
                  <a:pt x="44" y="56"/>
                </a:lnTo>
                <a:lnTo>
                  <a:pt x="44" y="41"/>
                </a:lnTo>
                <a:lnTo>
                  <a:pt x="52" y="30"/>
                </a:lnTo>
                <a:lnTo>
                  <a:pt x="89" y="19"/>
                </a:lnTo>
                <a:lnTo>
                  <a:pt x="119" y="22"/>
                </a:lnTo>
                <a:lnTo>
                  <a:pt x="122" y="11"/>
                </a:lnTo>
                <a:lnTo>
                  <a:pt x="145" y="0"/>
                </a:lnTo>
                <a:lnTo>
                  <a:pt x="157" y="4"/>
                </a:lnTo>
                <a:lnTo>
                  <a:pt x="182" y="37"/>
                </a:lnTo>
                <a:lnTo>
                  <a:pt x="223" y="56"/>
                </a:lnTo>
                <a:lnTo>
                  <a:pt x="260" y="56"/>
                </a:lnTo>
                <a:lnTo>
                  <a:pt x="270" y="59"/>
                </a:lnTo>
                <a:lnTo>
                  <a:pt x="369" y="115"/>
                </a:lnTo>
                <a:lnTo>
                  <a:pt x="399" y="119"/>
                </a:lnTo>
                <a:lnTo>
                  <a:pt x="421" y="141"/>
                </a:lnTo>
                <a:lnTo>
                  <a:pt x="454" y="133"/>
                </a:lnTo>
                <a:lnTo>
                  <a:pt x="473" y="145"/>
                </a:lnTo>
                <a:lnTo>
                  <a:pt x="492" y="163"/>
                </a:lnTo>
                <a:lnTo>
                  <a:pt x="514" y="163"/>
                </a:lnTo>
                <a:lnTo>
                  <a:pt x="529" y="167"/>
                </a:lnTo>
                <a:lnTo>
                  <a:pt x="536" y="174"/>
                </a:lnTo>
                <a:lnTo>
                  <a:pt x="529" y="185"/>
                </a:lnTo>
                <a:lnTo>
                  <a:pt x="529" y="200"/>
                </a:lnTo>
                <a:lnTo>
                  <a:pt x="588" y="241"/>
                </a:lnTo>
                <a:lnTo>
                  <a:pt x="621" y="267"/>
                </a:lnTo>
                <a:lnTo>
                  <a:pt x="636" y="263"/>
                </a:lnTo>
                <a:lnTo>
                  <a:pt x="654" y="259"/>
                </a:lnTo>
                <a:lnTo>
                  <a:pt x="711" y="285"/>
                </a:lnTo>
                <a:lnTo>
                  <a:pt x="718" y="304"/>
                </a:lnTo>
                <a:lnTo>
                  <a:pt x="726" y="311"/>
                </a:lnTo>
                <a:lnTo>
                  <a:pt x="744" y="315"/>
                </a:lnTo>
                <a:lnTo>
                  <a:pt x="755" y="322"/>
                </a:lnTo>
                <a:lnTo>
                  <a:pt x="770" y="322"/>
                </a:lnTo>
                <a:lnTo>
                  <a:pt x="785" y="322"/>
                </a:lnTo>
                <a:lnTo>
                  <a:pt x="800" y="326"/>
                </a:lnTo>
                <a:lnTo>
                  <a:pt x="804" y="322"/>
                </a:lnTo>
                <a:lnTo>
                  <a:pt x="811" y="337"/>
                </a:lnTo>
                <a:lnTo>
                  <a:pt x="811" y="356"/>
                </a:lnTo>
                <a:lnTo>
                  <a:pt x="800" y="367"/>
                </a:lnTo>
                <a:lnTo>
                  <a:pt x="741" y="411"/>
                </a:lnTo>
                <a:lnTo>
                  <a:pt x="715" y="411"/>
                </a:lnTo>
                <a:lnTo>
                  <a:pt x="640" y="429"/>
                </a:lnTo>
                <a:lnTo>
                  <a:pt x="614" y="433"/>
                </a:lnTo>
                <a:lnTo>
                  <a:pt x="614" y="455"/>
                </a:lnTo>
                <a:lnTo>
                  <a:pt x="599" y="455"/>
                </a:lnTo>
                <a:lnTo>
                  <a:pt x="584" y="466"/>
                </a:lnTo>
                <a:lnTo>
                  <a:pt x="569" y="485"/>
                </a:lnTo>
                <a:lnTo>
                  <a:pt x="554" y="499"/>
                </a:lnTo>
                <a:lnTo>
                  <a:pt x="536" y="503"/>
                </a:lnTo>
                <a:lnTo>
                  <a:pt x="521" y="522"/>
                </a:lnTo>
                <a:lnTo>
                  <a:pt x="521" y="548"/>
                </a:lnTo>
                <a:lnTo>
                  <a:pt x="532" y="562"/>
                </a:lnTo>
                <a:lnTo>
                  <a:pt x="536" y="573"/>
                </a:lnTo>
                <a:lnTo>
                  <a:pt x="536" y="592"/>
                </a:lnTo>
                <a:lnTo>
                  <a:pt x="532" y="599"/>
                </a:lnTo>
                <a:lnTo>
                  <a:pt x="517" y="603"/>
                </a:lnTo>
                <a:lnTo>
                  <a:pt x="495" y="622"/>
                </a:lnTo>
                <a:lnTo>
                  <a:pt x="466" y="648"/>
                </a:lnTo>
                <a:lnTo>
                  <a:pt x="454" y="659"/>
                </a:lnTo>
                <a:lnTo>
                  <a:pt x="447" y="666"/>
                </a:lnTo>
                <a:lnTo>
                  <a:pt x="447" y="677"/>
                </a:lnTo>
                <a:lnTo>
                  <a:pt x="414" y="677"/>
                </a:lnTo>
                <a:lnTo>
                  <a:pt x="395" y="681"/>
                </a:lnTo>
                <a:lnTo>
                  <a:pt x="380" y="685"/>
                </a:lnTo>
                <a:lnTo>
                  <a:pt x="373" y="692"/>
                </a:lnTo>
                <a:lnTo>
                  <a:pt x="362" y="707"/>
                </a:lnTo>
                <a:lnTo>
                  <a:pt x="343" y="714"/>
                </a:lnTo>
                <a:lnTo>
                  <a:pt x="332" y="714"/>
                </a:lnTo>
                <a:lnTo>
                  <a:pt x="310" y="711"/>
                </a:lnTo>
                <a:lnTo>
                  <a:pt x="273" y="707"/>
                </a:lnTo>
                <a:lnTo>
                  <a:pt x="208" y="681"/>
                </a:lnTo>
                <a:lnTo>
                  <a:pt x="182" y="677"/>
                </a:lnTo>
                <a:lnTo>
                  <a:pt x="157" y="685"/>
                </a:lnTo>
                <a:lnTo>
                  <a:pt x="137" y="696"/>
                </a:lnTo>
                <a:lnTo>
                  <a:pt x="115" y="699"/>
                </a:lnTo>
                <a:lnTo>
                  <a:pt x="96" y="711"/>
                </a:lnTo>
                <a:lnTo>
                  <a:pt x="85" y="718"/>
                </a:lnTo>
                <a:lnTo>
                  <a:pt x="44" y="674"/>
                </a:lnTo>
                <a:lnTo>
                  <a:pt x="44" y="611"/>
                </a:lnTo>
                <a:lnTo>
                  <a:pt x="26" y="588"/>
                </a:lnTo>
                <a:lnTo>
                  <a:pt x="4" y="570"/>
                </a:lnTo>
                <a:lnTo>
                  <a:pt x="0" y="559"/>
                </a:lnTo>
                <a:lnTo>
                  <a:pt x="0" y="536"/>
                </a:lnTo>
                <a:lnTo>
                  <a:pt x="11" y="525"/>
                </a:lnTo>
                <a:lnTo>
                  <a:pt x="41" y="514"/>
                </a:lnTo>
                <a:lnTo>
                  <a:pt x="48" y="507"/>
                </a:lnTo>
                <a:lnTo>
                  <a:pt x="37" y="492"/>
                </a:lnTo>
                <a:lnTo>
                  <a:pt x="33" y="466"/>
                </a:lnTo>
                <a:lnTo>
                  <a:pt x="44" y="444"/>
                </a:lnTo>
                <a:lnTo>
                  <a:pt x="67" y="422"/>
                </a:lnTo>
                <a:lnTo>
                  <a:pt x="67" y="404"/>
                </a:lnTo>
                <a:lnTo>
                  <a:pt x="59" y="389"/>
                </a:lnTo>
                <a:lnTo>
                  <a:pt x="67" y="363"/>
                </a:lnTo>
                <a:lnTo>
                  <a:pt x="70" y="360"/>
                </a:lnTo>
                <a:lnTo>
                  <a:pt x="81" y="360"/>
                </a:lnTo>
                <a:lnTo>
                  <a:pt x="89" y="371"/>
                </a:lnTo>
                <a:lnTo>
                  <a:pt x="100" y="356"/>
                </a:lnTo>
                <a:lnTo>
                  <a:pt x="104" y="315"/>
                </a:lnTo>
                <a:lnTo>
                  <a:pt x="133" y="289"/>
                </a:lnTo>
                <a:lnTo>
                  <a:pt x="133" y="274"/>
                </a:lnTo>
                <a:lnTo>
                  <a:pt x="133" y="263"/>
                </a:lnTo>
                <a:lnTo>
                  <a:pt x="164" y="245"/>
                </a:lnTo>
                <a:lnTo>
                  <a:pt x="186" y="241"/>
                </a:lnTo>
                <a:lnTo>
                  <a:pt x="194" y="233"/>
                </a:lnTo>
                <a:lnTo>
                  <a:pt x="175" y="215"/>
                </a:lnTo>
                <a:lnTo>
                  <a:pt x="160" y="185"/>
                </a:lnTo>
                <a:lnTo>
                  <a:pt x="153" y="178"/>
                </a:lnTo>
                <a:lnTo>
                  <a:pt x="130" y="189"/>
                </a:lnTo>
                <a:lnTo>
                  <a:pt x="115" y="182"/>
                </a:lnTo>
                <a:lnTo>
                  <a:pt x="93" y="174"/>
                </a:lnTo>
                <a:lnTo>
                  <a:pt x="85" y="178"/>
                </a:lnTo>
                <a:lnTo>
                  <a:pt x="78" y="170"/>
                </a:lnTo>
                <a:lnTo>
                  <a:pt x="78" y="156"/>
                </a:lnTo>
                <a:lnTo>
                  <a:pt x="67" y="141"/>
                </a:lnTo>
                <a:lnTo>
                  <a:pt x="59" y="137"/>
                </a:lnTo>
                <a:lnTo>
                  <a:pt x="41" y="141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08" name="Freeform 7"/>
          <p:cNvSpPr>
            <a:spLocks noChangeAspect="1"/>
          </p:cNvSpPr>
          <p:nvPr/>
        </p:nvSpPr>
        <p:spPr bwMode="auto">
          <a:xfrm>
            <a:off x="1539726" y="5215285"/>
            <a:ext cx="42863" cy="28575"/>
          </a:xfrm>
          <a:custGeom>
            <a:avLst/>
            <a:gdLst>
              <a:gd name="T0" fmla="*/ 31802 w 31"/>
              <a:gd name="T1" fmla="*/ 0 h 22"/>
              <a:gd name="T2" fmla="*/ 16592 w 31"/>
              <a:gd name="T3" fmla="*/ 0 h 22"/>
              <a:gd name="T4" fmla="*/ 0 w 31"/>
              <a:gd name="T5" fmla="*/ 15586 h 22"/>
              <a:gd name="T6" fmla="*/ 6913 w 31"/>
              <a:gd name="T7" fmla="*/ 20782 h 22"/>
              <a:gd name="T8" fmla="*/ 23506 w 31"/>
              <a:gd name="T9" fmla="*/ 20782 h 22"/>
              <a:gd name="T10" fmla="*/ 31802 w 31"/>
              <a:gd name="T11" fmla="*/ 0 h 2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22"/>
              <a:gd name="T20" fmla="*/ 31 w 31"/>
              <a:gd name="T21" fmla="*/ 22 h 2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22">
                <a:moveTo>
                  <a:pt x="31" y="0"/>
                </a:moveTo>
                <a:lnTo>
                  <a:pt x="16" y="0"/>
                </a:lnTo>
                <a:lnTo>
                  <a:pt x="0" y="15"/>
                </a:lnTo>
                <a:lnTo>
                  <a:pt x="8" y="22"/>
                </a:lnTo>
                <a:lnTo>
                  <a:pt x="23" y="22"/>
                </a:lnTo>
                <a:lnTo>
                  <a:pt x="31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09" name="Freeform 8"/>
          <p:cNvSpPr>
            <a:spLocks noChangeAspect="1"/>
          </p:cNvSpPr>
          <p:nvPr/>
        </p:nvSpPr>
        <p:spPr bwMode="auto">
          <a:xfrm>
            <a:off x="1665139" y="5142260"/>
            <a:ext cx="98425" cy="73025"/>
          </a:xfrm>
          <a:custGeom>
            <a:avLst/>
            <a:gdLst>
              <a:gd name="T0" fmla="*/ 52678 w 71"/>
              <a:gd name="T1" fmla="*/ 0 h 56"/>
              <a:gd name="T2" fmla="*/ 45747 w 71"/>
              <a:gd name="T3" fmla="*/ 5216 h 56"/>
              <a:gd name="T4" fmla="*/ 16635 w 71"/>
              <a:gd name="T5" fmla="*/ 10432 h 56"/>
              <a:gd name="T6" fmla="*/ 0 w 71"/>
              <a:gd name="T7" fmla="*/ 27384 h 56"/>
              <a:gd name="T8" fmla="*/ 22180 w 71"/>
              <a:gd name="T9" fmla="*/ 41729 h 56"/>
              <a:gd name="T10" fmla="*/ 34657 w 71"/>
              <a:gd name="T11" fmla="*/ 52161 h 56"/>
              <a:gd name="T12" fmla="*/ 56837 w 71"/>
              <a:gd name="T13" fmla="*/ 48249 h 56"/>
              <a:gd name="T14" fmla="*/ 72086 w 71"/>
              <a:gd name="T15" fmla="*/ 41729 h 56"/>
              <a:gd name="T16" fmla="*/ 67927 w 71"/>
              <a:gd name="T17" fmla="*/ 27384 h 56"/>
              <a:gd name="T18" fmla="*/ 56837 w 71"/>
              <a:gd name="T19" fmla="*/ 16952 h 56"/>
              <a:gd name="T20" fmla="*/ 52678 w 71"/>
              <a:gd name="T21" fmla="*/ 0 h 5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1"/>
              <a:gd name="T34" fmla="*/ 0 h 56"/>
              <a:gd name="T35" fmla="*/ 71 w 71"/>
              <a:gd name="T36" fmla="*/ 56 h 5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1" h="56">
                <a:moveTo>
                  <a:pt x="52" y="0"/>
                </a:moveTo>
                <a:lnTo>
                  <a:pt x="45" y="7"/>
                </a:lnTo>
                <a:lnTo>
                  <a:pt x="15" y="11"/>
                </a:lnTo>
                <a:lnTo>
                  <a:pt x="0" y="30"/>
                </a:lnTo>
                <a:lnTo>
                  <a:pt x="22" y="45"/>
                </a:lnTo>
                <a:lnTo>
                  <a:pt x="34" y="56"/>
                </a:lnTo>
                <a:lnTo>
                  <a:pt x="56" y="52"/>
                </a:lnTo>
                <a:lnTo>
                  <a:pt x="71" y="45"/>
                </a:lnTo>
                <a:lnTo>
                  <a:pt x="67" y="30"/>
                </a:lnTo>
                <a:lnTo>
                  <a:pt x="56" y="19"/>
                </a:lnTo>
                <a:lnTo>
                  <a:pt x="52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0" name="Freeform 9"/>
          <p:cNvSpPr>
            <a:spLocks noChangeAspect="1"/>
          </p:cNvSpPr>
          <p:nvPr/>
        </p:nvSpPr>
        <p:spPr bwMode="auto">
          <a:xfrm>
            <a:off x="1819126" y="5148610"/>
            <a:ext cx="31750" cy="38100"/>
          </a:xfrm>
          <a:custGeom>
            <a:avLst/>
            <a:gdLst>
              <a:gd name="T0" fmla="*/ 16565 w 23"/>
              <a:gd name="T1" fmla="*/ 0 h 29"/>
              <a:gd name="T2" fmla="*/ 0 w 23"/>
              <a:gd name="T3" fmla="*/ 5255 h 29"/>
              <a:gd name="T4" fmla="*/ 12424 w 23"/>
              <a:gd name="T5" fmla="*/ 17079 h 29"/>
              <a:gd name="T6" fmla="*/ 23467 w 23"/>
              <a:gd name="T7" fmla="*/ 27590 h 29"/>
              <a:gd name="T8" fmla="*/ 16565 w 23"/>
              <a:gd name="T9" fmla="*/ 0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"/>
              <a:gd name="T16" fmla="*/ 0 h 29"/>
              <a:gd name="T17" fmla="*/ 23 w 23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" h="29">
                <a:moveTo>
                  <a:pt x="15" y="0"/>
                </a:moveTo>
                <a:lnTo>
                  <a:pt x="0" y="7"/>
                </a:lnTo>
                <a:lnTo>
                  <a:pt x="12" y="18"/>
                </a:lnTo>
                <a:lnTo>
                  <a:pt x="23" y="29"/>
                </a:lnTo>
                <a:lnTo>
                  <a:pt x="15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1" name="Freeform 10"/>
          <p:cNvSpPr>
            <a:spLocks noChangeAspect="1"/>
          </p:cNvSpPr>
          <p:nvPr/>
        </p:nvSpPr>
        <p:spPr bwMode="auto">
          <a:xfrm>
            <a:off x="2220764" y="5110510"/>
            <a:ext cx="163512" cy="249237"/>
          </a:xfrm>
          <a:custGeom>
            <a:avLst/>
            <a:gdLst>
              <a:gd name="T0" fmla="*/ 71451 w 119"/>
              <a:gd name="T1" fmla="*/ 0 h 193"/>
              <a:gd name="T2" fmla="*/ 52214 w 119"/>
              <a:gd name="T3" fmla="*/ 10331 h 193"/>
              <a:gd name="T4" fmla="*/ 37099 w 119"/>
              <a:gd name="T5" fmla="*/ 20662 h 193"/>
              <a:gd name="T6" fmla="*/ 21985 w 119"/>
              <a:gd name="T7" fmla="*/ 24536 h 193"/>
              <a:gd name="T8" fmla="*/ 0 w 119"/>
              <a:gd name="T9" fmla="*/ 20662 h 193"/>
              <a:gd name="T10" fmla="*/ 5496 w 119"/>
              <a:gd name="T11" fmla="*/ 41324 h 193"/>
              <a:gd name="T12" fmla="*/ 15115 w 119"/>
              <a:gd name="T13" fmla="*/ 55529 h 193"/>
              <a:gd name="T14" fmla="*/ 10992 w 119"/>
              <a:gd name="T15" fmla="*/ 90397 h 193"/>
              <a:gd name="T16" fmla="*/ 10992 w 119"/>
              <a:gd name="T17" fmla="*/ 105893 h 193"/>
              <a:gd name="T18" fmla="*/ 15115 w 119"/>
              <a:gd name="T19" fmla="*/ 121390 h 193"/>
              <a:gd name="T20" fmla="*/ 5496 w 119"/>
              <a:gd name="T21" fmla="*/ 148509 h 193"/>
              <a:gd name="T22" fmla="*/ 5496 w 119"/>
              <a:gd name="T23" fmla="*/ 169171 h 193"/>
              <a:gd name="T24" fmla="*/ 21985 w 119"/>
              <a:gd name="T25" fmla="*/ 179502 h 193"/>
              <a:gd name="T26" fmla="*/ 43970 w 119"/>
              <a:gd name="T27" fmla="*/ 165297 h 193"/>
              <a:gd name="T28" fmla="*/ 52214 w 119"/>
              <a:gd name="T29" fmla="*/ 161423 h 193"/>
              <a:gd name="T30" fmla="*/ 74199 w 119"/>
              <a:gd name="T31" fmla="*/ 165297 h 193"/>
              <a:gd name="T32" fmla="*/ 90687 w 119"/>
              <a:gd name="T33" fmla="*/ 151092 h 193"/>
              <a:gd name="T34" fmla="*/ 90687 w 119"/>
              <a:gd name="T35" fmla="*/ 138178 h 193"/>
              <a:gd name="T36" fmla="*/ 107176 w 119"/>
              <a:gd name="T37" fmla="*/ 111059 h 193"/>
              <a:gd name="T38" fmla="*/ 115420 w 119"/>
              <a:gd name="T39" fmla="*/ 94271 h 193"/>
              <a:gd name="T40" fmla="*/ 107176 w 119"/>
              <a:gd name="T41" fmla="*/ 76192 h 193"/>
              <a:gd name="T42" fmla="*/ 118168 w 119"/>
              <a:gd name="T43" fmla="*/ 55529 h 193"/>
              <a:gd name="T44" fmla="*/ 112672 w 119"/>
              <a:gd name="T45" fmla="*/ 24536 h 193"/>
              <a:gd name="T46" fmla="*/ 107176 w 119"/>
              <a:gd name="T47" fmla="*/ 5166 h 193"/>
              <a:gd name="T48" fmla="*/ 71451 w 119"/>
              <a:gd name="T49" fmla="*/ 0 h 19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9"/>
              <a:gd name="T76" fmla="*/ 0 h 193"/>
              <a:gd name="T77" fmla="*/ 119 w 119"/>
              <a:gd name="T78" fmla="*/ 193 h 19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9" h="193">
                <a:moveTo>
                  <a:pt x="71" y="0"/>
                </a:moveTo>
                <a:lnTo>
                  <a:pt x="52" y="11"/>
                </a:lnTo>
                <a:lnTo>
                  <a:pt x="37" y="22"/>
                </a:lnTo>
                <a:lnTo>
                  <a:pt x="22" y="26"/>
                </a:lnTo>
                <a:lnTo>
                  <a:pt x="0" y="22"/>
                </a:lnTo>
                <a:lnTo>
                  <a:pt x="4" y="45"/>
                </a:lnTo>
                <a:lnTo>
                  <a:pt x="15" y="59"/>
                </a:lnTo>
                <a:lnTo>
                  <a:pt x="11" y="97"/>
                </a:lnTo>
                <a:lnTo>
                  <a:pt x="11" y="115"/>
                </a:lnTo>
                <a:lnTo>
                  <a:pt x="15" y="130"/>
                </a:lnTo>
                <a:lnTo>
                  <a:pt x="4" y="160"/>
                </a:lnTo>
                <a:lnTo>
                  <a:pt x="7" y="182"/>
                </a:lnTo>
                <a:lnTo>
                  <a:pt x="22" y="193"/>
                </a:lnTo>
                <a:lnTo>
                  <a:pt x="44" y="178"/>
                </a:lnTo>
                <a:lnTo>
                  <a:pt x="52" y="174"/>
                </a:lnTo>
                <a:lnTo>
                  <a:pt x="75" y="178"/>
                </a:lnTo>
                <a:lnTo>
                  <a:pt x="90" y="163"/>
                </a:lnTo>
                <a:lnTo>
                  <a:pt x="90" y="148"/>
                </a:lnTo>
                <a:lnTo>
                  <a:pt x="108" y="119"/>
                </a:lnTo>
                <a:lnTo>
                  <a:pt x="115" y="100"/>
                </a:lnTo>
                <a:lnTo>
                  <a:pt x="108" y="82"/>
                </a:lnTo>
                <a:lnTo>
                  <a:pt x="119" y="59"/>
                </a:lnTo>
                <a:lnTo>
                  <a:pt x="112" y="26"/>
                </a:lnTo>
                <a:lnTo>
                  <a:pt x="108" y="7"/>
                </a:lnTo>
                <a:lnTo>
                  <a:pt x="71" y="0"/>
                </a:lnTo>
                <a:close/>
              </a:path>
            </a:pathLst>
          </a:custGeom>
          <a:solidFill>
            <a:srgbClr val="FFCC99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2" name="Freeform 11"/>
          <p:cNvSpPr>
            <a:spLocks noChangeAspect="1"/>
          </p:cNvSpPr>
          <p:nvPr/>
        </p:nvSpPr>
        <p:spPr bwMode="auto">
          <a:xfrm>
            <a:off x="2600176" y="5499447"/>
            <a:ext cx="296863" cy="176213"/>
          </a:xfrm>
          <a:custGeom>
            <a:avLst/>
            <a:gdLst>
              <a:gd name="T0" fmla="*/ 203406 w 216"/>
              <a:gd name="T1" fmla="*/ 0 h 136"/>
              <a:gd name="T2" fmla="*/ 214401 w 216"/>
              <a:gd name="T3" fmla="*/ 10365 h 136"/>
              <a:gd name="T4" fmla="*/ 208904 w 216"/>
              <a:gd name="T5" fmla="*/ 20731 h 136"/>
              <a:gd name="T6" fmla="*/ 200657 w 216"/>
              <a:gd name="T7" fmla="*/ 37575 h 136"/>
              <a:gd name="T8" fmla="*/ 189663 w 216"/>
              <a:gd name="T9" fmla="*/ 47940 h 136"/>
              <a:gd name="T10" fmla="*/ 192411 w 216"/>
              <a:gd name="T11" fmla="*/ 79037 h 136"/>
              <a:gd name="T12" fmla="*/ 200657 w 216"/>
              <a:gd name="T13" fmla="*/ 103655 h 136"/>
              <a:gd name="T14" fmla="*/ 180042 w 216"/>
              <a:gd name="T15" fmla="*/ 114020 h 136"/>
              <a:gd name="T16" fmla="*/ 178668 w 216"/>
              <a:gd name="T17" fmla="*/ 123090 h 136"/>
              <a:gd name="T18" fmla="*/ 163550 w 216"/>
              <a:gd name="T19" fmla="*/ 126977 h 136"/>
              <a:gd name="T20" fmla="*/ 141560 w 216"/>
              <a:gd name="T21" fmla="*/ 106246 h 136"/>
              <a:gd name="T22" fmla="*/ 126442 w 216"/>
              <a:gd name="T23" fmla="*/ 106246 h 136"/>
              <a:gd name="T24" fmla="*/ 115447 w 216"/>
              <a:gd name="T25" fmla="*/ 89402 h 136"/>
              <a:gd name="T26" fmla="*/ 92083 w 216"/>
              <a:gd name="T27" fmla="*/ 79037 h 136"/>
              <a:gd name="T28" fmla="*/ 78339 w 216"/>
              <a:gd name="T29" fmla="*/ 75150 h 136"/>
              <a:gd name="T30" fmla="*/ 63221 w 216"/>
              <a:gd name="T31" fmla="*/ 68671 h 136"/>
              <a:gd name="T32" fmla="*/ 48103 w 216"/>
              <a:gd name="T33" fmla="*/ 58306 h 136"/>
              <a:gd name="T34" fmla="*/ 21990 w 216"/>
              <a:gd name="T35" fmla="*/ 40166 h 136"/>
              <a:gd name="T36" fmla="*/ 10995 w 216"/>
              <a:gd name="T37" fmla="*/ 37575 h 136"/>
              <a:gd name="T38" fmla="*/ 0 w 216"/>
              <a:gd name="T39" fmla="*/ 27209 h 136"/>
              <a:gd name="T40" fmla="*/ 0 w 216"/>
              <a:gd name="T41" fmla="*/ 14253 h 136"/>
              <a:gd name="T42" fmla="*/ 5497 w 216"/>
              <a:gd name="T43" fmla="*/ 5183 h 136"/>
              <a:gd name="T44" fmla="*/ 26113 w 216"/>
              <a:gd name="T45" fmla="*/ 5183 h 136"/>
              <a:gd name="T46" fmla="*/ 60472 w 216"/>
              <a:gd name="T47" fmla="*/ 5183 h 136"/>
              <a:gd name="T48" fmla="*/ 67344 w 216"/>
              <a:gd name="T49" fmla="*/ 16844 h 136"/>
              <a:gd name="T50" fmla="*/ 103077 w 216"/>
              <a:gd name="T51" fmla="*/ 16844 h 136"/>
              <a:gd name="T52" fmla="*/ 129190 w 216"/>
              <a:gd name="T53" fmla="*/ 16844 h 136"/>
              <a:gd name="T54" fmla="*/ 163550 w 216"/>
              <a:gd name="T55" fmla="*/ 10365 h 136"/>
              <a:gd name="T56" fmla="*/ 203406 w 216"/>
              <a:gd name="T57" fmla="*/ 0 h 1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16"/>
              <a:gd name="T88" fmla="*/ 0 h 136"/>
              <a:gd name="T89" fmla="*/ 216 w 216"/>
              <a:gd name="T90" fmla="*/ 136 h 1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16" h="136">
                <a:moveTo>
                  <a:pt x="205" y="0"/>
                </a:moveTo>
                <a:lnTo>
                  <a:pt x="216" y="11"/>
                </a:lnTo>
                <a:lnTo>
                  <a:pt x="209" y="22"/>
                </a:lnTo>
                <a:lnTo>
                  <a:pt x="201" y="40"/>
                </a:lnTo>
                <a:lnTo>
                  <a:pt x="190" y="51"/>
                </a:lnTo>
                <a:lnTo>
                  <a:pt x="194" y="85"/>
                </a:lnTo>
                <a:lnTo>
                  <a:pt x="201" y="110"/>
                </a:lnTo>
                <a:lnTo>
                  <a:pt x="182" y="121"/>
                </a:lnTo>
                <a:lnTo>
                  <a:pt x="179" y="132"/>
                </a:lnTo>
                <a:lnTo>
                  <a:pt x="164" y="136"/>
                </a:lnTo>
                <a:lnTo>
                  <a:pt x="142" y="114"/>
                </a:lnTo>
                <a:lnTo>
                  <a:pt x="127" y="114"/>
                </a:lnTo>
                <a:lnTo>
                  <a:pt x="115" y="96"/>
                </a:lnTo>
                <a:lnTo>
                  <a:pt x="93" y="85"/>
                </a:lnTo>
                <a:lnTo>
                  <a:pt x="78" y="81"/>
                </a:lnTo>
                <a:lnTo>
                  <a:pt x="63" y="74"/>
                </a:lnTo>
                <a:lnTo>
                  <a:pt x="48" y="62"/>
                </a:lnTo>
                <a:lnTo>
                  <a:pt x="22" y="44"/>
                </a:lnTo>
                <a:lnTo>
                  <a:pt x="11" y="40"/>
                </a:lnTo>
                <a:lnTo>
                  <a:pt x="0" y="29"/>
                </a:lnTo>
                <a:lnTo>
                  <a:pt x="0" y="15"/>
                </a:lnTo>
                <a:lnTo>
                  <a:pt x="4" y="4"/>
                </a:lnTo>
                <a:lnTo>
                  <a:pt x="26" y="7"/>
                </a:lnTo>
                <a:lnTo>
                  <a:pt x="60" y="7"/>
                </a:lnTo>
                <a:lnTo>
                  <a:pt x="67" y="18"/>
                </a:lnTo>
                <a:lnTo>
                  <a:pt x="104" y="18"/>
                </a:lnTo>
                <a:lnTo>
                  <a:pt x="130" y="18"/>
                </a:lnTo>
                <a:lnTo>
                  <a:pt x="164" y="11"/>
                </a:lnTo>
                <a:lnTo>
                  <a:pt x="205" y="0"/>
                </a:lnTo>
                <a:close/>
              </a:path>
            </a:pathLst>
          </a:custGeom>
          <a:solidFill>
            <a:srgbClr val="FFCC99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3" name="Freeform 12"/>
          <p:cNvSpPr>
            <a:spLocks noChangeAspect="1"/>
          </p:cNvSpPr>
          <p:nvPr/>
        </p:nvSpPr>
        <p:spPr bwMode="auto">
          <a:xfrm>
            <a:off x="2185839" y="4472335"/>
            <a:ext cx="1014412" cy="1076325"/>
          </a:xfrm>
          <a:custGeom>
            <a:avLst/>
            <a:gdLst>
              <a:gd name="T0" fmla="*/ 564327 w 737"/>
              <a:gd name="T1" fmla="*/ 761208 h 830"/>
              <a:gd name="T2" fmla="*/ 609748 w 737"/>
              <a:gd name="T3" fmla="*/ 689886 h 830"/>
              <a:gd name="T4" fmla="*/ 629018 w 737"/>
              <a:gd name="T5" fmla="*/ 665247 h 830"/>
              <a:gd name="T6" fmla="*/ 613878 w 737"/>
              <a:gd name="T7" fmla="*/ 630234 h 830"/>
              <a:gd name="T8" fmla="*/ 594608 w 737"/>
              <a:gd name="T9" fmla="*/ 626343 h 830"/>
              <a:gd name="T10" fmla="*/ 609748 w 737"/>
              <a:gd name="T11" fmla="*/ 600408 h 830"/>
              <a:gd name="T12" fmla="*/ 634524 w 737"/>
              <a:gd name="T13" fmla="*/ 561504 h 830"/>
              <a:gd name="T14" fmla="*/ 704721 w 737"/>
              <a:gd name="T15" fmla="*/ 606892 h 830"/>
              <a:gd name="T16" fmla="*/ 733625 w 737"/>
              <a:gd name="T17" fmla="*/ 606892 h 830"/>
              <a:gd name="T18" fmla="*/ 710226 w 737"/>
              <a:gd name="T19" fmla="*/ 555021 h 830"/>
              <a:gd name="T20" fmla="*/ 688203 w 737"/>
              <a:gd name="T21" fmla="*/ 551130 h 830"/>
              <a:gd name="T22" fmla="*/ 609748 w 737"/>
              <a:gd name="T23" fmla="*/ 492775 h 830"/>
              <a:gd name="T24" fmla="*/ 561574 w 737"/>
              <a:gd name="T25" fmla="*/ 460356 h 830"/>
              <a:gd name="T26" fmla="*/ 564327 w 737"/>
              <a:gd name="T27" fmla="*/ 440904 h 830"/>
              <a:gd name="T28" fmla="*/ 491377 w 737"/>
              <a:gd name="T29" fmla="*/ 409782 h 830"/>
              <a:gd name="T30" fmla="*/ 458344 w 737"/>
              <a:gd name="T31" fmla="*/ 382549 h 830"/>
              <a:gd name="T32" fmla="*/ 379888 w 737"/>
              <a:gd name="T33" fmla="*/ 272323 h 830"/>
              <a:gd name="T34" fmla="*/ 363372 w 737"/>
              <a:gd name="T35" fmla="*/ 185439 h 830"/>
              <a:gd name="T36" fmla="*/ 342725 w 737"/>
              <a:gd name="T37" fmla="*/ 151723 h 830"/>
              <a:gd name="T38" fmla="*/ 404664 w 737"/>
              <a:gd name="T39" fmla="*/ 124491 h 830"/>
              <a:gd name="T40" fmla="*/ 434945 w 737"/>
              <a:gd name="T41" fmla="*/ 64839 h 830"/>
              <a:gd name="T42" fmla="*/ 368877 w 737"/>
              <a:gd name="T43" fmla="*/ 38903 h 830"/>
              <a:gd name="T44" fmla="*/ 357866 w 737"/>
              <a:gd name="T45" fmla="*/ 14265 h 830"/>
              <a:gd name="T46" fmla="*/ 264270 w 737"/>
              <a:gd name="T47" fmla="*/ 5187 h 830"/>
              <a:gd name="T48" fmla="*/ 220225 w 737"/>
              <a:gd name="T49" fmla="*/ 49278 h 830"/>
              <a:gd name="T50" fmla="*/ 183062 w 737"/>
              <a:gd name="T51" fmla="*/ 44090 h 830"/>
              <a:gd name="T52" fmla="*/ 134888 w 737"/>
              <a:gd name="T53" fmla="*/ 58355 h 830"/>
              <a:gd name="T54" fmla="*/ 116995 w 737"/>
              <a:gd name="T55" fmla="*/ 27232 h 830"/>
              <a:gd name="T56" fmla="*/ 90843 w 737"/>
              <a:gd name="T57" fmla="*/ 54465 h 830"/>
              <a:gd name="T58" fmla="*/ 22023 w 737"/>
              <a:gd name="T59" fmla="*/ 79103 h 830"/>
              <a:gd name="T60" fmla="*/ 5506 w 737"/>
              <a:gd name="T61" fmla="*/ 127084 h 830"/>
              <a:gd name="T62" fmla="*/ 0 w 737"/>
              <a:gd name="T63" fmla="*/ 175065 h 830"/>
              <a:gd name="T64" fmla="*/ 30281 w 737"/>
              <a:gd name="T65" fmla="*/ 193220 h 830"/>
              <a:gd name="T66" fmla="*/ 52303 w 737"/>
              <a:gd name="T67" fmla="*/ 232123 h 830"/>
              <a:gd name="T68" fmla="*/ 123877 w 737"/>
              <a:gd name="T69" fmla="*/ 195813 h 830"/>
              <a:gd name="T70" fmla="*/ 191321 w 737"/>
              <a:gd name="T71" fmla="*/ 252872 h 830"/>
              <a:gd name="T72" fmla="*/ 220225 w 737"/>
              <a:gd name="T73" fmla="*/ 326788 h 830"/>
              <a:gd name="T74" fmla="*/ 272529 w 737"/>
              <a:gd name="T75" fmla="*/ 369582 h 830"/>
              <a:gd name="T76" fmla="*/ 338596 w 737"/>
              <a:gd name="T77" fmla="*/ 444795 h 830"/>
              <a:gd name="T78" fmla="*/ 443203 w 737"/>
              <a:gd name="T79" fmla="*/ 516117 h 830"/>
              <a:gd name="T80" fmla="*/ 474860 w 737"/>
              <a:gd name="T81" fmla="*/ 536866 h 830"/>
              <a:gd name="T82" fmla="*/ 502389 w 737"/>
              <a:gd name="T83" fmla="*/ 586143 h 830"/>
              <a:gd name="T84" fmla="*/ 543681 w 737"/>
              <a:gd name="T85" fmla="*/ 600408 h 830"/>
              <a:gd name="T86" fmla="*/ 558821 w 737"/>
              <a:gd name="T87" fmla="*/ 660060 h 830"/>
              <a:gd name="T88" fmla="*/ 546434 w 737"/>
              <a:gd name="T89" fmla="*/ 706744 h 830"/>
              <a:gd name="T90" fmla="*/ 535422 w 737"/>
              <a:gd name="T91" fmla="*/ 761208 h 83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37"/>
              <a:gd name="T139" fmla="*/ 0 h 830"/>
              <a:gd name="T140" fmla="*/ 737 w 737"/>
              <a:gd name="T141" fmla="*/ 830 h 83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37" h="830">
                <a:moveTo>
                  <a:pt x="534" y="819"/>
                </a:moveTo>
                <a:lnTo>
                  <a:pt x="545" y="830"/>
                </a:lnTo>
                <a:lnTo>
                  <a:pt x="564" y="819"/>
                </a:lnTo>
                <a:lnTo>
                  <a:pt x="586" y="789"/>
                </a:lnTo>
                <a:lnTo>
                  <a:pt x="597" y="745"/>
                </a:lnTo>
                <a:lnTo>
                  <a:pt x="609" y="741"/>
                </a:lnTo>
                <a:lnTo>
                  <a:pt x="617" y="748"/>
                </a:lnTo>
                <a:lnTo>
                  <a:pt x="632" y="734"/>
                </a:lnTo>
                <a:lnTo>
                  <a:pt x="628" y="715"/>
                </a:lnTo>
                <a:lnTo>
                  <a:pt x="635" y="700"/>
                </a:lnTo>
                <a:lnTo>
                  <a:pt x="632" y="693"/>
                </a:lnTo>
                <a:lnTo>
                  <a:pt x="613" y="678"/>
                </a:lnTo>
                <a:lnTo>
                  <a:pt x="606" y="678"/>
                </a:lnTo>
                <a:lnTo>
                  <a:pt x="609" y="670"/>
                </a:lnTo>
                <a:lnTo>
                  <a:pt x="594" y="674"/>
                </a:lnTo>
                <a:lnTo>
                  <a:pt x="586" y="667"/>
                </a:lnTo>
                <a:lnTo>
                  <a:pt x="586" y="659"/>
                </a:lnTo>
                <a:lnTo>
                  <a:pt x="609" y="645"/>
                </a:lnTo>
                <a:lnTo>
                  <a:pt x="620" y="630"/>
                </a:lnTo>
                <a:lnTo>
                  <a:pt x="620" y="607"/>
                </a:lnTo>
                <a:lnTo>
                  <a:pt x="632" y="604"/>
                </a:lnTo>
                <a:lnTo>
                  <a:pt x="669" y="622"/>
                </a:lnTo>
                <a:lnTo>
                  <a:pt x="683" y="626"/>
                </a:lnTo>
                <a:lnTo>
                  <a:pt x="702" y="652"/>
                </a:lnTo>
                <a:lnTo>
                  <a:pt x="709" y="667"/>
                </a:lnTo>
                <a:lnTo>
                  <a:pt x="720" y="667"/>
                </a:lnTo>
                <a:lnTo>
                  <a:pt x="731" y="652"/>
                </a:lnTo>
                <a:lnTo>
                  <a:pt x="737" y="637"/>
                </a:lnTo>
                <a:lnTo>
                  <a:pt x="724" y="611"/>
                </a:lnTo>
                <a:lnTo>
                  <a:pt x="709" y="596"/>
                </a:lnTo>
                <a:lnTo>
                  <a:pt x="695" y="596"/>
                </a:lnTo>
                <a:lnTo>
                  <a:pt x="695" y="593"/>
                </a:lnTo>
                <a:lnTo>
                  <a:pt x="687" y="593"/>
                </a:lnTo>
                <a:lnTo>
                  <a:pt x="650" y="555"/>
                </a:lnTo>
                <a:lnTo>
                  <a:pt x="632" y="559"/>
                </a:lnTo>
                <a:lnTo>
                  <a:pt x="609" y="530"/>
                </a:lnTo>
                <a:lnTo>
                  <a:pt x="594" y="526"/>
                </a:lnTo>
                <a:lnTo>
                  <a:pt x="571" y="504"/>
                </a:lnTo>
                <a:lnTo>
                  <a:pt x="560" y="496"/>
                </a:lnTo>
                <a:lnTo>
                  <a:pt x="568" y="489"/>
                </a:lnTo>
                <a:lnTo>
                  <a:pt x="579" y="485"/>
                </a:lnTo>
                <a:lnTo>
                  <a:pt x="564" y="474"/>
                </a:lnTo>
                <a:lnTo>
                  <a:pt x="545" y="481"/>
                </a:lnTo>
                <a:lnTo>
                  <a:pt x="531" y="474"/>
                </a:lnTo>
                <a:lnTo>
                  <a:pt x="490" y="440"/>
                </a:lnTo>
                <a:lnTo>
                  <a:pt x="486" y="426"/>
                </a:lnTo>
                <a:lnTo>
                  <a:pt x="471" y="422"/>
                </a:lnTo>
                <a:lnTo>
                  <a:pt x="457" y="411"/>
                </a:lnTo>
                <a:lnTo>
                  <a:pt x="419" y="330"/>
                </a:lnTo>
                <a:lnTo>
                  <a:pt x="408" y="319"/>
                </a:lnTo>
                <a:lnTo>
                  <a:pt x="379" y="293"/>
                </a:lnTo>
                <a:lnTo>
                  <a:pt x="345" y="241"/>
                </a:lnTo>
                <a:lnTo>
                  <a:pt x="345" y="211"/>
                </a:lnTo>
                <a:lnTo>
                  <a:pt x="364" y="200"/>
                </a:lnTo>
                <a:lnTo>
                  <a:pt x="364" y="185"/>
                </a:lnTo>
                <a:lnTo>
                  <a:pt x="349" y="171"/>
                </a:lnTo>
                <a:lnTo>
                  <a:pt x="342" y="163"/>
                </a:lnTo>
                <a:lnTo>
                  <a:pt x="345" y="152"/>
                </a:lnTo>
                <a:lnTo>
                  <a:pt x="360" y="145"/>
                </a:lnTo>
                <a:lnTo>
                  <a:pt x="405" y="134"/>
                </a:lnTo>
                <a:lnTo>
                  <a:pt x="423" y="122"/>
                </a:lnTo>
                <a:lnTo>
                  <a:pt x="438" y="108"/>
                </a:lnTo>
                <a:lnTo>
                  <a:pt x="434" y="70"/>
                </a:lnTo>
                <a:lnTo>
                  <a:pt x="438" y="56"/>
                </a:lnTo>
                <a:lnTo>
                  <a:pt x="416" y="52"/>
                </a:lnTo>
                <a:lnTo>
                  <a:pt x="368" y="41"/>
                </a:lnTo>
                <a:lnTo>
                  <a:pt x="360" y="30"/>
                </a:lnTo>
                <a:lnTo>
                  <a:pt x="357" y="26"/>
                </a:lnTo>
                <a:lnTo>
                  <a:pt x="357" y="15"/>
                </a:lnTo>
                <a:lnTo>
                  <a:pt x="353" y="4"/>
                </a:lnTo>
                <a:lnTo>
                  <a:pt x="327" y="0"/>
                </a:lnTo>
                <a:lnTo>
                  <a:pt x="264" y="4"/>
                </a:lnTo>
                <a:lnTo>
                  <a:pt x="257" y="19"/>
                </a:lnTo>
                <a:lnTo>
                  <a:pt x="234" y="22"/>
                </a:lnTo>
                <a:lnTo>
                  <a:pt x="220" y="52"/>
                </a:lnTo>
                <a:lnTo>
                  <a:pt x="220" y="63"/>
                </a:lnTo>
                <a:lnTo>
                  <a:pt x="205" y="52"/>
                </a:lnTo>
                <a:lnTo>
                  <a:pt x="182" y="48"/>
                </a:lnTo>
                <a:lnTo>
                  <a:pt x="168" y="56"/>
                </a:lnTo>
                <a:lnTo>
                  <a:pt x="157" y="78"/>
                </a:lnTo>
                <a:lnTo>
                  <a:pt x="134" y="63"/>
                </a:lnTo>
                <a:lnTo>
                  <a:pt x="138" y="41"/>
                </a:lnTo>
                <a:lnTo>
                  <a:pt x="131" y="26"/>
                </a:lnTo>
                <a:lnTo>
                  <a:pt x="116" y="30"/>
                </a:lnTo>
                <a:lnTo>
                  <a:pt x="112" y="48"/>
                </a:lnTo>
                <a:lnTo>
                  <a:pt x="101" y="59"/>
                </a:lnTo>
                <a:lnTo>
                  <a:pt x="90" y="59"/>
                </a:lnTo>
                <a:lnTo>
                  <a:pt x="37" y="52"/>
                </a:lnTo>
                <a:lnTo>
                  <a:pt x="19" y="67"/>
                </a:lnTo>
                <a:lnTo>
                  <a:pt x="22" y="85"/>
                </a:lnTo>
                <a:lnTo>
                  <a:pt x="26" y="100"/>
                </a:lnTo>
                <a:lnTo>
                  <a:pt x="0" y="122"/>
                </a:lnTo>
                <a:lnTo>
                  <a:pt x="7" y="137"/>
                </a:lnTo>
                <a:lnTo>
                  <a:pt x="15" y="145"/>
                </a:lnTo>
                <a:lnTo>
                  <a:pt x="0" y="163"/>
                </a:lnTo>
                <a:lnTo>
                  <a:pt x="0" y="189"/>
                </a:lnTo>
                <a:lnTo>
                  <a:pt x="7" y="200"/>
                </a:lnTo>
                <a:lnTo>
                  <a:pt x="22" y="200"/>
                </a:lnTo>
                <a:lnTo>
                  <a:pt x="30" y="208"/>
                </a:lnTo>
                <a:lnTo>
                  <a:pt x="37" y="226"/>
                </a:lnTo>
                <a:lnTo>
                  <a:pt x="37" y="245"/>
                </a:lnTo>
                <a:lnTo>
                  <a:pt x="52" y="249"/>
                </a:lnTo>
                <a:lnTo>
                  <a:pt x="63" y="245"/>
                </a:lnTo>
                <a:lnTo>
                  <a:pt x="105" y="204"/>
                </a:lnTo>
                <a:lnTo>
                  <a:pt x="123" y="211"/>
                </a:lnTo>
                <a:lnTo>
                  <a:pt x="160" y="230"/>
                </a:lnTo>
                <a:lnTo>
                  <a:pt x="186" y="249"/>
                </a:lnTo>
                <a:lnTo>
                  <a:pt x="190" y="271"/>
                </a:lnTo>
                <a:lnTo>
                  <a:pt x="205" y="286"/>
                </a:lnTo>
                <a:lnTo>
                  <a:pt x="212" y="312"/>
                </a:lnTo>
                <a:lnTo>
                  <a:pt x="220" y="352"/>
                </a:lnTo>
                <a:lnTo>
                  <a:pt x="231" y="371"/>
                </a:lnTo>
                <a:lnTo>
                  <a:pt x="245" y="387"/>
                </a:lnTo>
                <a:lnTo>
                  <a:pt x="271" y="397"/>
                </a:lnTo>
                <a:lnTo>
                  <a:pt x="294" y="433"/>
                </a:lnTo>
                <a:lnTo>
                  <a:pt x="316" y="463"/>
                </a:lnTo>
                <a:lnTo>
                  <a:pt x="338" y="478"/>
                </a:lnTo>
                <a:lnTo>
                  <a:pt x="379" y="526"/>
                </a:lnTo>
                <a:lnTo>
                  <a:pt x="408" y="526"/>
                </a:lnTo>
                <a:lnTo>
                  <a:pt x="442" y="555"/>
                </a:lnTo>
                <a:lnTo>
                  <a:pt x="442" y="585"/>
                </a:lnTo>
                <a:lnTo>
                  <a:pt x="453" y="593"/>
                </a:lnTo>
                <a:lnTo>
                  <a:pt x="475" y="578"/>
                </a:lnTo>
                <a:lnTo>
                  <a:pt x="479" y="593"/>
                </a:lnTo>
                <a:lnTo>
                  <a:pt x="479" y="611"/>
                </a:lnTo>
                <a:lnTo>
                  <a:pt x="501" y="630"/>
                </a:lnTo>
                <a:lnTo>
                  <a:pt x="508" y="641"/>
                </a:lnTo>
                <a:lnTo>
                  <a:pt x="538" y="633"/>
                </a:lnTo>
                <a:lnTo>
                  <a:pt x="542" y="645"/>
                </a:lnTo>
                <a:lnTo>
                  <a:pt x="538" y="670"/>
                </a:lnTo>
                <a:lnTo>
                  <a:pt x="553" y="693"/>
                </a:lnTo>
                <a:lnTo>
                  <a:pt x="557" y="711"/>
                </a:lnTo>
                <a:lnTo>
                  <a:pt x="564" y="730"/>
                </a:lnTo>
                <a:lnTo>
                  <a:pt x="560" y="745"/>
                </a:lnTo>
                <a:lnTo>
                  <a:pt x="545" y="760"/>
                </a:lnTo>
                <a:lnTo>
                  <a:pt x="542" y="778"/>
                </a:lnTo>
                <a:lnTo>
                  <a:pt x="531" y="800"/>
                </a:lnTo>
                <a:lnTo>
                  <a:pt x="534" y="819"/>
                </a:lnTo>
                <a:close/>
              </a:path>
            </a:pathLst>
          </a:custGeom>
          <a:solidFill>
            <a:srgbClr val="FFCC99"/>
          </a:solidFill>
          <a:ln>
            <a:noFill/>
          </a:ln>
          <a:extLst/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4" name="Freeform 13"/>
          <p:cNvSpPr>
            <a:spLocks noChangeAspect="1"/>
          </p:cNvSpPr>
          <p:nvPr/>
        </p:nvSpPr>
        <p:spPr bwMode="auto">
          <a:xfrm>
            <a:off x="2136626" y="4319935"/>
            <a:ext cx="409575" cy="250825"/>
          </a:xfrm>
          <a:custGeom>
            <a:avLst/>
            <a:gdLst>
              <a:gd name="T0" fmla="*/ 156683 w 298"/>
              <a:gd name="T1" fmla="*/ 33616 h 194"/>
              <a:gd name="T2" fmla="*/ 141564 w 298"/>
              <a:gd name="T3" fmla="*/ 21980 h 194"/>
              <a:gd name="T4" fmla="*/ 144313 w 298"/>
              <a:gd name="T5" fmla="*/ 16808 h 194"/>
              <a:gd name="T6" fmla="*/ 134692 w 298"/>
              <a:gd name="T7" fmla="*/ 10343 h 194"/>
              <a:gd name="T8" fmla="*/ 127820 w 298"/>
              <a:gd name="T9" fmla="*/ 0 h 194"/>
              <a:gd name="T10" fmla="*/ 116825 w 298"/>
              <a:gd name="T11" fmla="*/ 10343 h 194"/>
              <a:gd name="T12" fmla="*/ 111327 w 298"/>
              <a:gd name="T13" fmla="*/ 5172 h 194"/>
              <a:gd name="T14" fmla="*/ 100332 w 298"/>
              <a:gd name="T15" fmla="*/ 15515 h 194"/>
              <a:gd name="T16" fmla="*/ 100332 w 298"/>
              <a:gd name="T17" fmla="*/ 20687 h 194"/>
              <a:gd name="T18" fmla="*/ 86588 w 298"/>
              <a:gd name="T19" fmla="*/ 25858 h 194"/>
              <a:gd name="T20" fmla="*/ 54977 w 298"/>
              <a:gd name="T21" fmla="*/ 49131 h 194"/>
              <a:gd name="T22" fmla="*/ 43981 w 298"/>
              <a:gd name="T23" fmla="*/ 59474 h 194"/>
              <a:gd name="T24" fmla="*/ 43981 w 298"/>
              <a:gd name="T25" fmla="*/ 71110 h 194"/>
              <a:gd name="T26" fmla="*/ 32986 w 298"/>
              <a:gd name="T27" fmla="*/ 74989 h 194"/>
              <a:gd name="T28" fmla="*/ 8246 w 298"/>
              <a:gd name="T29" fmla="*/ 99554 h 194"/>
              <a:gd name="T30" fmla="*/ 8246 w 298"/>
              <a:gd name="T31" fmla="*/ 107312 h 194"/>
              <a:gd name="T32" fmla="*/ 0 w 298"/>
              <a:gd name="T33" fmla="*/ 117655 h 194"/>
              <a:gd name="T34" fmla="*/ 5498 w 298"/>
              <a:gd name="T35" fmla="*/ 129291 h 194"/>
              <a:gd name="T36" fmla="*/ 15119 w 298"/>
              <a:gd name="T37" fmla="*/ 122827 h 194"/>
              <a:gd name="T38" fmla="*/ 26114 w 298"/>
              <a:gd name="T39" fmla="*/ 112483 h 194"/>
              <a:gd name="T40" fmla="*/ 42607 w 298"/>
              <a:gd name="T41" fmla="*/ 109898 h 194"/>
              <a:gd name="T42" fmla="*/ 54977 w 298"/>
              <a:gd name="T43" fmla="*/ 112483 h 194"/>
              <a:gd name="T44" fmla="*/ 57725 w 298"/>
              <a:gd name="T45" fmla="*/ 129291 h 194"/>
              <a:gd name="T46" fmla="*/ 54977 w 298"/>
              <a:gd name="T47" fmla="*/ 140927 h 194"/>
              <a:gd name="T48" fmla="*/ 63223 w 298"/>
              <a:gd name="T49" fmla="*/ 148685 h 194"/>
              <a:gd name="T50" fmla="*/ 71469 w 298"/>
              <a:gd name="T51" fmla="*/ 155149 h 194"/>
              <a:gd name="T52" fmla="*/ 92086 w 298"/>
              <a:gd name="T53" fmla="*/ 156442 h 194"/>
              <a:gd name="T54" fmla="*/ 133318 w 298"/>
              <a:gd name="T55" fmla="*/ 161614 h 194"/>
              <a:gd name="T56" fmla="*/ 141564 w 298"/>
              <a:gd name="T57" fmla="*/ 156442 h 194"/>
              <a:gd name="T58" fmla="*/ 148437 w 298"/>
              <a:gd name="T59" fmla="*/ 148685 h 194"/>
              <a:gd name="T60" fmla="*/ 152560 w 298"/>
              <a:gd name="T61" fmla="*/ 133170 h 194"/>
              <a:gd name="T62" fmla="*/ 166304 w 298"/>
              <a:gd name="T63" fmla="*/ 133170 h 194"/>
              <a:gd name="T64" fmla="*/ 171802 w 298"/>
              <a:gd name="T65" fmla="*/ 143513 h 194"/>
              <a:gd name="T66" fmla="*/ 171802 w 298"/>
              <a:gd name="T67" fmla="*/ 165493 h 194"/>
              <a:gd name="T68" fmla="*/ 191043 w 298"/>
              <a:gd name="T69" fmla="*/ 177129 h 194"/>
              <a:gd name="T70" fmla="*/ 203413 w 298"/>
              <a:gd name="T71" fmla="*/ 156442 h 194"/>
              <a:gd name="T72" fmla="*/ 219906 w 298"/>
              <a:gd name="T73" fmla="*/ 151271 h 194"/>
              <a:gd name="T74" fmla="*/ 237773 w 298"/>
              <a:gd name="T75" fmla="*/ 153857 h 194"/>
              <a:gd name="T76" fmla="*/ 250143 w 298"/>
              <a:gd name="T77" fmla="*/ 159028 h 194"/>
              <a:gd name="T78" fmla="*/ 254266 w 298"/>
              <a:gd name="T79" fmla="*/ 165493 h 194"/>
              <a:gd name="T80" fmla="*/ 259764 w 298"/>
              <a:gd name="T81" fmla="*/ 147392 h 194"/>
              <a:gd name="T82" fmla="*/ 269385 w 298"/>
              <a:gd name="T83" fmla="*/ 127998 h 194"/>
              <a:gd name="T84" fmla="*/ 291375 w 298"/>
              <a:gd name="T85" fmla="*/ 122827 h 194"/>
              <a:gd name="T86" fmla="*/ 298248 w 298"/>
              <a:gd name="T87" fmla="*/ 111190 h 194"/>
              <a:gd name="T88" fmla="*/ 291375 w 298"/>
              <a:gd name="T89" fmla="*/ 100847 h 194"/>
              <a:gd name="T90" fmla="*/ 281755 w 298"/>
              <a:gd name="T91" fmla="*/ 95676 h 194"/>
              <a:gd name="T92" fmla="*/ 252892 w 298"/>
              <a:gd name="T93" fmla="*/ 90504 h 194"/>
              <a:gd name="T94" fmla="*/ 251518 w 298"/>
              <a:gd name="T95" fmla="*/ 78868 h 194"/>
              <a:gd name="T96" fmla="*/ 251518 w 298"/>
              <a:gd name="T97" fmla="*/ 63353 h 194"/>
              <a:gd name="T98" fmla="*/ 251518 w 298"/>
              <a:gd name="T99" fmla="*/ 54302 h 194"/>
              <a:gd name="T100" fmla="*/ 235025 w 298"/>
              <a:gd name="T101" fmla="*/ 46545 h 194"/>
              <a:gd name="T102" fmla="*/ 226778 w 298"/>
              <a:gd name="T103" fmla="*/ 49131 h 194"/>
              <a:gd name="T104" fmla="*/ 211660 w 298"/>
              <a:gd name="T105" fmla="*/ 38787 h 194"/>
              <a:gd name="T106" fmla="*/ 208911 w 298"/>
              <a:gd name="T107" fmla="*/ 32323 h 194"/>
              <a:gd name="T108" fmla="*/ 203413 w 298"/>
              <a:gd name="T109" fmla="*/ 24565 h 194"/>
              <a:gd name="T110" fmla="*/ 203413 w 298"/>
              <a:gd name="T111" fmla="*/ 20687 h 194"/>
              <a:gd name="T112" fmla="*/ 186920 w 298"/>
              <a:gd name="T113" fmla="*/ 15515 h 194"/>
              <a:gd name="T114" fmla="*/ 181422 w 298"/>
              <a:gd name="T115" fmla="*/ 21980 h 194"/>
              <a:gd name="T116" fmla="*/ 170427 w 298"/>
              <a:gd name="T117" fmla="*/ 29737 h 194"/>
              <a:gd name="T118" fmla="*/ 156683 w 298"/>
              <a:gd name="T119" fmla="*/ 33616 h 19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8"/>
              <a:gd name="T181" fmla="*/ 0 h 194"/>
              <a:gd name="T182" fmla="*/ 298 w 298"/>
              <a:gd name="T183" fmla="*/ 194 h 19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5" name="Freeform 14"/>
          <p:cNvSpPr>
            <a:spLocks noChangeAspect="1"/>
          </p:cNvSpPr>
          <p:nvPr/>
        </p:nvSpPr>
        <p:spPr bwMode="auto">
          <a:xfrm>
            <a:off x="2463651" y="4291360"/>
            <a:ext cx="625475" cy="268287"/>
          </a:xfrm>
          <a:custGeom>
            <a:avLst/>
            <a:gdLst>
              <a:gd name="T0" fmla="*/ 19330 w 453"/>
              <a:gd name="T1" fmla="*/ 67723 h 206"/>
              <a:gd name="T2" fmla="*/ 35899 w 453"/>
              <a:gd name="T3" fmla="*/ 76839 h 206"/>
              <a:gd name="T4" fmla="*/ 63514 w 453"/>
              <a:gd name="T5" fmla="*/ 75537 h 206"/>
              <a:gd name="T6" fmla="*/ 88367 w 453"/>
              <a:gd name="T7" fmla="*/ 74235 h 206"/>
              <a:gd name="T8" fmla="*/ 118744 w 453"/>
              <a:gd name="T9" fmla="*/ 83351 h 206"/>
              <a:gd name="T10" fmla="*/ 139455 w 453"/>
              <a:gd name="T11" fmla="*/ 79444 h 206"/>
              <a:gd name="T12" fmla="*/ 173973 w 453"/>
              <a:gd name="T13" fmla="*/ 76839 h 206"/>
              <a:gd name="T14" fmla="*/ 209872 w 453"/>
              <a:gd name="T15" fmla="*/ 95073 h 206"/>
              <a:gd name="T16" fmla="*/ 229203 w 453"/>
              <a:gd name="T17" fmla="*/ 76839 h 206"/>
              <a:gd name="T18" fmla="*/ 214015 w 453"/>
              <a:gd name="T19" fmla="*/ 37769 h 206"/>
              <a:gd name="T20" fmla="*/ 276148 w 453"/>
              <a:gd name="T21" fmla="*/ 5209 h 206"/>
              <a:gd name="T22" fmla="*/ 294098 w 453"/>
              <a:gd name="T23" fmla="*/ 18233 h 206"/>
              <a:gd name="T24" fmla="*/ 339662 w 453"/>
              <a:gd name="T25" fmla="*/ 2605 h 206"/>
              <a:gd name="T26" fmla="*/ 389369 w 453"/>
              <a:gd name="T27" fmla="*/ 15628 h 206"/>
              <a:gd name="T28" fmla="*/ 421126 w 453"/>
              <a:gd name="T29" fmla="*/ 6512 h 206"/>
              <a:gd name="T30" fmla="*/ 444598 w 453"/>
              <a:gd name="T31" fmla="*/ 49490 h 206"/>
              <a:gd name="T32" fmla="*/ 454263 w 453"/>
              <a:gd name="T33" fmla="*/ 76839 h 206"/>
              <a:gd name="T34" fmla="*/ 432172 w 453"/>
              <a:gd name="T35" fmla="*/ 95073 h 206"/>
              <a:gd name="T36" fmla="*/ 434933 w 453"/>
              <a:gd name="T37" fmla="*/ 113306 h 206"/>
              <a:gd name="T38" fmla="*/ 428029 w 453"/>
              <a:gd name="T39" fmla="*/ 139353 h 206"/>
              <a:gd name="T40" fmla="*/ 404557 w 453"/>
              <a:gd name="T41" fmla="*/ 161493 h 206"/>
              <a:gd name="T42" fmla="*/ 382465 w 453"/>
              <a:gd name="T43" fmla="*/ 178424 h 206"/>
              <a:gd name="T44" fmla="*/ 331377 w 453"/>
              <a:gd name="T45" fmla="*/ 179726 h 206"/>
              <a:gd name="T46" fmla="*/ 291336 w 453"/>
              <a:gd name="T47" fmla="*/ 194052 h 206"/>
              <a:gd name="T48" fmla="*/ 220918 w 453"/>
              <a:gd name="T49" fmla="*/ 179726 h 206"/>
              <a:gd name="T50" fmla="*/ 156024 w 453"/>
              <a:gd name="T51" fmla="*/ 154981 h 206"/>
              <a:gd name="T52" fmla="*/ 151881 w 453"/>
              <a:gd name="T53" fmla="*/ 132841 h 206"/>
              <a:gd name="T54" fmla="*/ 106317 w 453"/>
              <a:gd name="T55" fmla="*/ 131539 h 206"/>
              <a:gd name="T56" fmla="*/ 52468 w 453"/>
              <a:gd name="T57" fmla="*/ 125027 h 206"/>
              <a:gd name="T58" fmla="*/ 28996 w 453"/>
              <a:gd name="T59" fmla="*/ 115910 h 206"/>
              <a:gd name="T60" fmla="*/ 13807 w 453"/>
              <a:gd name="T61" fmla="*/ 97677 h 206"/>
              <a:gd name="T62" fmla="*/ 0 w 453"/>
              <a:gd name="T63" fmla="*/ 69025 h 2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53"/>
              <a:gd name="T97" fmla="*/ 0 h 206"/>
              <a:gd name="T98" fmla="*/ 453 w 453"/>
              <a:gd name="T99" fmla="*/ 206 h 2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6" name="Freeform 15"/>
          <p:cNvSpPr>
            <a:spLocks noChangeAspect="1"/>
          </p:cNvSpPr>
          <p:nvPr/>
        </p:nvSpPr>
        <p:spPr bwMode="auto">
          <a:xfrm>
            <a:off x="3012926" y="4324697"/>
            <a:ext cx="579438" cy="330200"/>
          </a:xfrm>
          <a:custGeom>
            <a:avLst/>
            <a:gdLst>
              <a:gd name="T0" fmla="*/ 2759 w 420"/>
              <a:gd name="T1" fmla="*/ 152100 h 254"/>
              <a:gd name="T2" fmla="*/ 15176 w 420"/>
              <a:gd name="T3" fmla="*/ 161200 h 254"/>
              <a:gd name="T4" fmla="*/ 13796 w 420"/>
              <a:gd name="T5" fmla="*/ 167700 h 254"/>
              <a:gd name="T6" fmla="*/ 16555 w 420"/>
              <a:gd name="T7" fmla="*/ 178100 h 254"/>
              <a:gd name="T8" fmla="*/ 28972 w 420"/>
              <a:gd name="T9" fmla="*/ 178100 h 254"/>
              <a:gd name="T10" fmla="*/ 70360 w 420"/>
              <a:gd name="T11" fmla="*/ 215800 h 254"/>
              <a:gd name="T12" fmla="*/ 84156 w 420"/>
              <a:gd name="T13" fmla="*/ 218400 h 254"/>
              <a:gd name="T14" fmla="*/ 118647 w 420"/>
              <a:gd name="T15" fmla="*/ 239200 h 254"/>
              <a:gd name="T16" fmla="*/ 133823 w 420"/>
              <a:gd name="T17" fmla="*/ 226200 h 254"/>
              <a:gd name="T18" fmla="*/ 157276 w 420"/>
              <a:gd name="T19" fmla="*/ 228800 h 254"/>
              <a:gd name="T20" fmla="*/ 166933 w 420"/>
              <a:gd name="T21" fmla="*/ 234000 h 254"/>
              <a:gd name="T22" fmla="*/ 184868 w 420"/>
              <a:gd name="T23" fmla="*/ 226200 h 254"/>
              <a:gd name="T24" fmla="*/ 220738 w 420"/>
              <a:gd name="T25" fmla="*/ 211900 h 254"/>
              <a:gd name="T26" fmla="*/ 264886 w 420"/>
              <a:gd name="T27" fmla="*/ 206700 h 254"/>
              <a:gd name="T28" fmla="*/ 282821 w 420"/>
              <a:gd name="T29" fmla="*/ 209300 h 254"/>
              <a:gd name="T30" fmla="*/ 288339 w 420"/>
              <a:gd name="T31" fmla="*/ 218400 h 254"/>
              <a:gd name="T32" fmla="*/ 303515 w 420"/>
              <a:gd name="T33" fmla="*/ 201500 h 254"/>
              <a:gd name="T34" fmla="*/ 324209 w 420"/>
              <a:gd name="T35" fmla="*/ 196300 h 254"/>
              <a:gd name="T36" fmla="*/ 342144 w 420"/>
              <a:gd name="T37" fmla="*/ 192400 h 254"/>
              <a:gd name="T38" fmla="*/ 376635 w 420"/>
              <a:gd name="T39" fmla="*/ 161200 h 254"/>
              <a:gd name="T40" fmla="*/ 386292 w 420"/>
              <a:gd name="T41" fmla="*/ 143000 h 254"/>
              <a:gd name="T42" fmla="*/ 389051 w 420"/>
              <a:gd name="T43" fmla="*/ 106600 h 254"/>
              <a:gd name="T44" fmla="*/ 393190 w 420"/>
              <a:gd name="T45" fmla="*/ 76700 h 254"/>
              <a:gd name="T46" fmla="*/ 406986 w 420"/>
              <a:gd name="T47" fmla="*/ 75400 h 254"/>
              <a:gd name="T48" fmla="*/ 416644 w 420"/>
              <a:gd name="T49" fmla="*/ 63700 h 254"/>
              <a:gd name="T50" fmla="*/ 422162 w 420"/>
              <a:gd name="T51" fmla="*/ 55900 h 254"/>
              <a:gd name="T52" fmla="*/ 408366 w 420"/>
              <a:gd name="T53" fmla="*/ 46800 h 254"/>
              <a:gd name="T54" fmla="*/ 402847 w 420"/>
              <a:gd name="T55" fmla="*/ 50700 h 254"/>
              <a:gd name="T56" fmla="*/ 383533 w 420"/>
              <a:gd name="T57" fmla="*/ 46800 h 254"/>
              <a:gd name="T58" fmla="*/ 372496 w 420"/>
              <a:gd name="T59" fmla="*/ 32500 h 254"/>
              <a:gd name="T60" fmla="*/ 361459 w 420"/>
              <a:gd name="T61" fmla="*/ 14300 h 254"/>
              <a:gd name="T62" fmla="*/ 347663 w 420"/>
              <a:gd name="T63" fmla="*/ 14300 h 254"/>
              <a:gd name="T64" fmla="*/ 328348 w 420"/>
              <a:gd name="T65" fmla="*/ 0 h 254"/>
              <a:gd name="T66" fmla="*/ 317311 w 420"/>
              <a:gd name="T67" fmla="*/ 2600 h 254"/>
              <a:gd name="T68" fmla="*/ 275923 w 420"/>
              <a:gd name="T69" fmla="*/ 5200 h 254"/>
              <a:gd name="T70" fmla="*/ 266266 w 420"/>
              <a:gd name="T71" fmla="*/ 16900 h 254"/>
              <a:gd name="T72" fmla="*/ 255229 w 420"/>
              <a:gd name="T73" fmla="*/ 31200 h 254"/>
              <a:gd name="T74" fmla="*/ 241433 w 420"/>
              <a:gd name="T75" fmla="*/ 39000 h 254"/>
              <a:gd name="T76" fmla="*/ 227636 w 420"/>
              <a:gd name="T77" fmla="*/ 40300 h 254"/>
              <a:gd name="T78" fmla="*/ 217979 w 420"/>
              <a:gd name="T79" fmla="*/ 39000 h 254"/>
              <a:gd name="T80" fmla="*/ 206942 w 420"/>
              <a:gd name="T81" fmla="*/ 32500 h 254"/>
              <a:gd name="T82" fmla="*/ 201424 w 420"/>
              <a:gd name="T83" fmla="*/ 31200 h 254"/>
              <a:gd name="T84" fmla="*/ 187628 w 420"/>
              <a:gd name="T85" fmla="*/ 36400 h 254"/>
              <a:gd name="T86" fmla="*/ 171072 w 420"/>
              <a:gd name="T87" fmla="*/ 45500 h 254"/>
              <a:gd name="T88" fmla="*/ 136582 w 420"/>
              <a:gd name="T89" fmla="*/ 59800 h 254"/>
              <a:gd name="T90" fmla="*/ 120026 w 420"/>
              <a:gd name="T91" fmla="*/ 61100 h 254"/>
              <a:gd name="T92" fmla="*/ 84156 w 420"/>
              <a:gd name="T93" fmla="*/ 59800 h 254"/>
              <a:gd name="T94" fmla="*/ 78638 w 420"/>
              <a:gd name="T95" fmla="*/ 57200 h 254"/>
              <a:gd name="T96" fmla="*/ 67601 w 420"/>
              <a:gd name="T97" fmla="*/ 42900 h 254"/>
              <a:gd name="T98" fmla="*/ 56564 w 420"/>
              <a:gd name="T99" fmla="*/ 36400 h 254"/>
              <a:gd name="T100" fmla="*/ 52425 w 420"/>
              <a:gd name="T101" fmla="*/ 40300 h 254"/>
              <a:gd name="T102" fmla="*/ 51046 w 420"/>
              <a:gd name="T103" fmla="*/ 55900 h 254"/>
              <a:gd name="T104" fmla="*/ 44148 w 420"/>
              <a:gd name="T105" fmla="*/ 68900 h 254"/>
              <a:gd name="T106" fmla="*/ 30352 w 420"/>
              <a:gd name="T107" fmla="*/ 68900 h 254"/>
              <a:gd name="T108" fmla="*/ 26213 w 420"/>
              <a:gd name="T109" fmla="*/ 74100 h 254"/>
              <a:gd name="T110" fmla="*/ 33111 w 420"/>
              <a:gd name="T111" fmla="*/ 87100 h 254"/>
              <a:gd name="T112" fmla="*/ 31731 w 420"/>
              <a:gd name="T113" fmla="*/ 101400 h 254"/>
              <a:gd name="T114" fmla="*/ 22074 w 420"/>
              <a:gd name="T115" fmla="*/ 115700 h 254"/>
              <a:gd name="T116" fmla="*/ 15176 w 420"/>
              <a:gd name="T117" fmla="*/ 119600 h 254"/>
              <a:gd name="T118" fmla="*/ 5518 w 420"/>
              <a:gd name="T119" fmla="*/ 124800 h 254"/>
              <a:gd name="T120" fmla="*/ 0 w 420"/>
              <a:gd name="T121" fmla="*/ 136500 h 254"/>
              <a:gd name="T122" fmla="*/ 2759 w 420"/>
              <a:gd name="T123" fmla="*/ 152100 h 2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0"/>
              <a:gd name="T187" fmla="*/ 0 h 254"/>
              <a:gd name="T188" fmla="*/ 420 w 420"/>
              <a:gd name="T189" fmla="*/ 254 h 2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0" h="254">
                <a:moveTo>
                  <a:pt x="2" y="161"/>
                </a:moveTo>
                <a:lnTo>
                  <a:pt x="15" y="172"/>
                </a:lnTo>
                <a:lnTo>
                  <a:pt x="13" y="178"/>
                </a:lnTo>
                <a:lnTo>
                  <a:pt x="17" y="189"/>
                </a:lnTo>
                <a:lnTo>
                  <a:pt x="28" y="189"/>
                </a:lnTo>
                <a:lnTo>
                  <a:pt x="70" y="230"/>
                </a:lnTo>
                <a:lnTo>
                  <a:pt x="83" y="232"/>
                </a:lnTo>
                <a:lnTo>
                  <a:pt x="117" y="254"/>
                </a:lnTo>
                <a:lnTo>
                  <a:pt x="133" y="241"/>
                </a:lnTo>
                <a:lnTo>
                  <a:pt x="157" y="243"/>
                </a:lnTo>
                <a:lnTo>
                  <a:pt x="165" y="248"/>
                </a:lnTo>
                <a:lnTo>
                  <a:pt x="183" y="241"/>
                </a:lnTo>
                <a:lnTo>
                  <a:pt x="220" y="226"/>
                </a:lnTo>
                <a:lnTo>
                  <a:pt x="263" y="219"/>
                </a:lnTo>
                <a:lnTo>
                  <a:pt x="281" y="222"/>
                </a:lnTo>
                <a:lnTo>
                  <a:pt x="287" y="232"/>
                </a:lnTo>
                <a:lnTo>
                  <a:pt x="302" y="215"/>
                </a:lnTo>
                <a:lnTo>
                  <a:pt x="322" y="208"/>
                </a:lnTo>
                <a:lnTo>
                  <a:pt x="341" y="205"/>
                </a:lnTo>
                <a:lnTo>
                  <a:pt x="374" y="172"/>
                </a:lnTo>
                <a:lnTo>
                  <a:pt x="383" y="152"/>
                </a:lnTo>
                <a:lnTo>
                  <a:pt x="387" y="113"/>
                </a:lnTo>
                <a:lnTo>
                  <a:pt x="391" y="81"/>
                </a:lnTo>
                <a:lnTo>
                  <a:pt x="404" y="80"/>
                </a:lnTo>
                <a:lnTo>
                  <a:pt x="414" y="68"/>
                </a:lnTo>
                <a:lnTo>
                  <a:pt x="420" y="59"/>
                </a:lnTo>
                <a:lnTo>
                  <a:pt x="407" y="50"/>
                </a:lnTo>
                <a:lnTo>
                  <a:pt x="400" y="54"/>
                </a:lnTo>
                <a:lnTo>
                  <a:pt x="381" y="50"/>
                </a:lnTo>
                <a:lnTo>
                  <a:pt x="370" y="35"/>
                </a:lnTo>
                <a:lnTo>
                  <a:pt x="359" y="15"/>
                </a:lnTo>
                <a:lnTo>
                  <a:pt x="346" y="15"/>
                </a:lnTo>
                <a:lnTo>
                  <a:pt x="326" y="0"/>
                </a:lnTo>
                <a:lnTo>
                  <a:pt x="315" y="2"/>
                </a:lnTo>
                <a:lnTo>
                  <a:pt x="274" y="7"/>
                </a:lnTo>
                <a:lnTo>
                  <a:pt x="266" y="19"/>
                </a:lnTo>
                <a:lnTo>
                  <a:pt x="255" y="33"/>
                </a:lnTo>
                <a:lnTo>
                  <a:pt x="240" y="41"/>
                </a:lnTo>
                <a:lnTo>
                  <a:pt x="226" y="44"/>
                </a:lnTo>
                <a:lnTo>
                  <a:pt x="216" y="41"/>
                </a:lnTo>
                <a:lnTo>
                  <a:pt x="207" y="35"/>
                </a:lnTo>
                <a:lnTo>
                  <a:pt x="200" y="33"/>
                </a:lnTo>
                <a:lnTo>
                  <a:pt x="187" y="39"/>
                </a:lnTo>
                <a:lnTo>
                  <a:pt x="170" y="48"/>
                </a:lnTo>
                <a:lnTo>
                  <a:pt x="135" y="63"/>
                </a:lnTo>
                <a:lnTo>
                  <a:pt x="120" y="65"/>
                </a:lnTo>
                <a:lnTo>
                  <a:pt x="83" y="63"/>
                </a:lnTo>
                <a:lnTo>
                  <a:pt x="78" y="61"/>
                </a:lnTo>
                <a:lnTo>
                  <a:pt x="68" y="46"/>
                </a:lnTo>
                <a:lnTo>
                  <a:pt x="56" y="39"/>
                </a:lnTo>
                <a:lnTo>
                  <a:pt x="52" y="44"/>
                </a:lnTo>
                <a:lnTo>
                  <a:pt x="50" y="59"/>
                </a:lnTo>
                <a:lnTo>
                  <a:pt x="43" y="74"/>
                </a:lnTo>
                <a:lnTo>
                  <a:pt x="30" y="74"/>
                </a:lnTo>
                <a:lnTo>
                  <a:pt x="26" y="78"/>
                </a:lnTo>
                <a:lnTo>
                  <a:pt x="33" y="93"/>
                </a:lnTo>
                <a:lnTo>
                  <a:pt x="31" y="108"/>
                </a:lnTo>
                <a:lnTo>
                  <a:pt x="22" y="122"/>
                </a:lnTo>
                <a:lnTo>
                  <a:pt x="15" y="128"/>
                </a:lnTo>
                <a:lnTo>
                  <a:pt x="4" y="133"/>
                </a:lnTo>
                <a:lnTo>
                  <a:pt x="0" y="145"/>
                </a:lnTo>
                <a:lnTo>
                  <a:pt x="2" y="161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7" name="Freeform 16"/>
          <p:cNvSpPr>
            <a:spLocks noChangeAspect="1"/>
          </p:cNvSpPr>
          <p:nvPr/>
        </p:nvSpPr>
        <p:spPr bwMode="auto">
          <a:xfrm>
            <a:off x="2763689" y="4532660"/>
            <a:ext cx="274637" cy="149225"/>
          </a:xfrm>
          <a:custGeom>
            <a:avLst/>
            <a:gdLst>
              <a:gd name="T0" fmla="*/ 16561 w 199"/>
              <a:gd name="T1" fmla="*/ 58392 h 115"/>
              <a:gd name="T2" fmla="*/ 37262 w 199"/>
              <a:gd name="T3" fmla="*/ 76559 h 115"/>
              <a:gd name="T4" fmla="*/ 30362 w 199"/>
              <a:gd name="T5" fmla="*/ 85642 h 115"/>
              <a:gd name="T6" fmla="*/ 22081 w 199"/>
              <a:gd name="T7" fmla="*/ 94725 h 115"/>
              <a:gd name="T8" fmla="*/ 11041 w 199"/>
              <a:gd name="T9" fmla="*/ 94725 h 115"/>
              <a:gd name="T10" fmla="*/ 0 w 199"/>
              <a:gd name="T11" fmla="*/ 96023 h 115"/>
              <a:gd name="T12" fmla="*/ 19321 w 199"/>
              <a:gd name="T13" fmla="*/ 105106 h 115"/>
              <a:gd name="T14" fmla="*/ 27602 w 199"/>
              <a:gd name="T15" fmla="*/ 106404 h 115"/>
              <a:gd name="T16" fmla="*/ 53823 w 199"/>
              <a:gd name="T17" fmla="*/ 94725 h 115"/>
              <a:gd name="T18" fmla="*/ 107647 w 199"/>
              <a:gd name="T19" fmla="*/ 106404 h 115"/>
              <a:gd name="T20" fmla="*/ 144909 w 199"/>
              <a:gd name="T21" fmla="*/ 68773 h 115"/>
              <a:gd name="T22" fmla="*/ 151809 w 199"/>
              <a:gd name="T23" fmla="*/ 53202 h 115"/>
              <a:gd name="T24" fmla="*/ 158710 w 199"/>
              <a:gd name="T25" fmla="*/ 49309 h 115"/>
              <a:gd name="T26" fmla="*/ 179411 w 199"/>
              <a:gd name="T27" fmla="*/ 50607 h 115"/>
              <a:gd name="T28" fmla="*/ 200112 w 199"/>
              <a:gd name="T29" fmla="*/ 27250 h 115"/>
              <a:gd name="T30" fmla="*/ 197352 w 199"/>
              <a:gd name="T31" fmla="*/ 14274 h 115"/>
              <a:gd name="T32" fmla="*/ 183551 w 199"/>
              <a:gd name="T33" fmla="*/ 0 h 115"/>
              <a:gd name="T34" fmla="*/ 173891 w 199"/>
              <a:gd name="T35" fmla="*/ 2595 h 115"/>
              <a:gd name="T36" fmla="*/ 164230 w 199"/>
              <a:gd name="T37" fmla="*/ 5190 h 115"/>
              <a:gd name="T38" fmla="*/ 144909 w 199"/>
              <a:gd name="T39" fmla="*/ 1298 h 115"/>
              <a:gd name="T40" fmla="*/ 128348 w 199"/>
              <a:gd name="T41" fmla="*/ 2595 h 115"/>
              <a:gd name="T42" fmla="*/ 109027 w 199"/>
              <a:gd name="T43" fmla="*/ 5190 h 115"/>
              <a:gd name="T44" fmla="*/ 84185 w 199"/>
              <a:gd name="T45" fmla="*/ 5190 h 115"/>
              <a:gd name="T46" fmla="*/ 73145 w 199"/>
              <a:gd name="T47" fmla="*/ 18167 h 115"/>
              <a:gd name="T48" fmla="*/ 30362 w 199"/>
              <a:gd name="T49" fmla="*/ 5190 h 115"/>
              <a:gd name="T50" fmla="*/ 15181 w 199"/>
              <a:gd name="T51" fmla="*/ 5190 h 115"/>
              <a:gd name="T52" fmla="*/ 15181 w 199"/>
              <a:gd name="T53" fmla="*/ 29845 h 115"/>
              <a:gd name="T54" fmla="*/ 16561 w 199"/>
              <a:gd name="T55" fmla="*/ 58392 h 115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9"/>
              <a:gd name="T85" fmla="*/ 0 h 115"/>
              <a:gd name="T86" fmla="*/ 199 w 199"/>
              <a:gd name="T87" fmla="*/ 115 h 115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8" name="Freeform 17"/>
          <p:cNvSpPr>
            <a:spLocks noChangeAspect="1"/>
          </p:cNvSpPr>
          <p:nvPr/>
        </p:nvSpPr>
        <p:spPr bwMode="auto">
          <a:xfrm>
            <a:off x="3565376" y="4805710"/>
            <a:ext cx="528638" cy="363537"/>
          </a:xfrm>
          <a:custGeom>
            <a:avLst/>
            <a:gdLst>
              <a:gd name="T0" fmla="*/ 5507 w 384"/>
              <a:gd name="T1" fmla="*/ 36224 h 281"/>
              <a:gd name="T2" fmla="*/ 2753 w 384"/>
              <a:gd name="T3" fmla="*/ 54336 h 281"/>
              <a:gd name="T4" fmla="*/ 27533 w 384"/>
              <a:gd name="T5" fmla="*/ 75036 h 281"/>
              <a:gd name="T6" fmla="*/ 30287 w 384"/>
              <a:gd name="T7" fmla="*/ 106086 h 281"/>
              <a:gd name="T8" fmla="*/ 5507 w 384"/>
              <a:gd name="T9" fmla="*/ 124198 h 281"/>
              <a:gd name="T10" fmla="*/ 8260 w 384"/>
              <a:gd name="T11" fmla="*/ 146191 h 281"/>
              <a:gd name="T12" fmla="*/ 5507 w 384"/>
              <a:gd name="T13" fmla="*/ 170772 h 281"/>
              <a:gd name="T14" fmla="*/ 8260 w 384"/>
              <a:gd name="T15" fmla="*/ 192765 h 281"/>
              <a:gd name="T16" fmla="*/ 30287 w 384"/>
              <a:gd name="T17" fmla="*/ 204409 h 281"/>
              <a:gd name="T18" fmla="*/ 30287 w 384"/>
              <a:gd name="T19" fmla="*/ 235458 h 281"/>
              <a:gd name="T20" fmla="*/ 44053 w 384"/>
              <a:gd name="T21" fmla="*/ 258745 h 281"/>
              <a:gd name="T22" fmla="*/ 108756 w 384"/>
              <a:gd name="T23" fmla="*/ 243220 h 281"/>
              <a:gd name="T24" fmla="*/ 148679 w 384"/>
              <a:gd name="T25" fmla="*/ 217346 h 281"/>
              <a:gd name="T26" fmla="*/ 178966 w 384"/>
              <a:gd name="T27" fmla="*/ 232871 h 281"/>
              <a:gd name="T28" fmla="*/ 207876 w 384"/>
              <a:gd name="T29" fmla="*/ 241927 h 281"/>
              <a:gd name="T30" fmla="*/ 242292 w 384"/>
              <a:gd name="T31" fmla="*/ 228989 h 281"/>
              <a:gd name="T32" fmla="*/ 245046 w 384"/>
              <a:gd name="T33" fmla="*/ 203115 h 281"/>
              <a:gd name="T34" fmla="*/ 269826 w 384"/>
              <a:gd name="T35" fmla="*/ 203115 h 281"/>
              <a:gd name="T36" fmla="*/ 283592 w 384"/>
              <a:gd name="T37" fmla="*/ 195353 h 281"/>
              <a:gd name="T38" fmla="*/ 334529 w 384"/>
              <a:gd name="T39" fmla="*/ 179828 h 281"/>
              <a:gd name="T40" fmla="*/ 353802 w 384"/>
              <a:gd name="T41" fmla="*/ 160422 h 281"/>
              <a:gd name="T42" fmla="*/ 327645 w 384"/>
              <a:gd name="T43" fmla="*/ 135841 h 281"/>
              <a:gd name="T44" fmla="*/ 338659 w 384"/>
              <a:gd name="T45" fmla="*/ 113848 h 281"/>
              <a:gd name="T46" fmla="*/ 348295 w 384"/>
              <a:gd name="T47" fmla="*/ 102204 h 281"/>
              <a:gd name="T48" fmla="*/ 356555 w 384"/>
              <a:gd name="T49" fmla="*/ 75036 h 281"/>
              <a:gd name="T50" fmla="*/ 363439 w 384"/>
              <a:gd name="T51" fmla="*/ 47868 h 281"/>
              <a:gd name="T52" fmla="*/ 384089 w 384"/>
              <a:gd name="T53" fmla="*/ 36224 h 281"/>
              <a:gd name="T54" fmla="*/ 371699 w 384"/>
              <a:gd name="T55" fmla="*/ 7762 h 281"/>
              <a:gd name="T56" fmla="*/ 320762 w 384"/>
              <a:gd name="T57" fmla="*/ 2587 h 281"/>
              <a:gd name="T58" fmla="*/ 265696 w 384"/>
              <a:gd name="T59" fmla="*/ 5175 h 281"/>
              <a:gd name="T60" fmla="*/ 213383 w 384"/>
              <a:gd name="T61" fmla="*/ 29756 h 281"/>
              <a:gd name="T62" fmla="*/ 172083 w 384"/>
              <a:gd name="T63" fmla="*/ 46574 h 281"/>
              <a:gd name="T64" fmla="*/ 118393 w 384"/>
              <a:gd name="T65" fmla="*/ 49162 h 281"/>
              <a:gd name="T66" fmla="*/ 82600 w 384"/>
              <a:gd name="T67" fmla="*/ 47868 h 281"/>
              <a:gd name="T68" fmla="*/ 41300 w 384"/>
              <a:gd name="T69" fmla="*/ 33637 h 281"/>
              <a:gd name="T70" fmla="*/ 8260 w 384"/>
              <a:gd name="T71" fmla="*/ 29756 h 28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84"/>
              <a:gd name="T109" fmla="*/ 0 h 281"/>
              <a:gd name="T110" fmla="*/ 384 w 384"/>
              <a:gd name="T111" fmla="*/ 281 h 28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84" h="281">
                <a:moveTo>
                  <a:pt x="9" y="33"/>
                </a:moveTo>
                <a:lnTo>
                  <a:pt x="7" y="39"/>
                </a:lnTo>
                <a:lnTo>
                  <a:pt x="0" y="46"/>
                </a:lnTo>
                <a:lnTo>
                  <a:pt x="2" y="59"/>
                </a:lnTo>
                <a:lnTo>
                  <a:pt x="13" y="80"/>
                </a:lnTo>
                <a:lnTo>
                  <a:pt x="28" y="82"/>
                </a:lnTo>
                <a:lnTo>
                  <a:pt x="31" y="91"/>
                </a:lnTo>
                <a:lnTo>
                  <a:pt x="30" y="115"/>
                </a:lnTo>
                <a:lnTo>
                  <a:pt x="24" y="122"/>
                </a:lnTo>
                <a:lnTo>
                  <a:pt x="6" y="135"/>
                </a:lnTo>
                <a:lnTo>
                  <a:pt x="4" y="141"/>
                </a:lnTo>
                <a:lnTo>
                  <a:pt x="9" y="159"/>
                </a:lnTo>
                <a:lnTo>
                  <a:pt x="11" y="173"/>
                </a:lnTo>
                <a:lnTo>
                  <a:pt x="6" y="186"/>
                </a:lnTo>
                <a:lnTo>
                  <a:pt x="0" y="196"/>
                </a:lnTo>
                <a:lnTo>
                  <a:pt x="9" y="209"/>
                </a:lnTo>
                <a:lnTo>
                  <a:pt x="17" y="207"/>
                </a:lnTo>
                <a:lnTo>
                  <a:pt x="30" y="222"/>
                </a:lnTo>
                <a:lnTo>
                  <a:pt x="31" y="236"/>
                </a:lnTo>
                <a:lnTo>
                  <a:pt x="31" y="255"/>
                </a:lnTo>
                <a:lnTo>
                  <a:pt x="30" y="264"/>
                </a:lnTo>
                <a:lnTo>
                  <a:pt x="44" y="281"/>
                </a:lnTo>
                <a:lnTo>
                  <a:pt x="74" y="275"/>
                </a:lnTo>
                <a:lnTo>
                  <a:pt x="109" y="264"/>
                </a:lnTo>
                <a:lnTo>
                  <a:pt x="136" y="248"/>
                </a:lnTo>
                <a:lnTo>
                  <a:pt x="149" y="236"/>
                </a:lnTo>
                <a:lnTo>
                  <a:pt x="166" y="259"/>
                </a:lnTo>
                <a:lnTo>
                  <a:pt x="179" y="253"/>
                </a:lnTo>
                <a:lnTo>
                  <a:pt x="197" y="259"/>
                </a:lnTo>
                <a:lnTo>
                  <a:pt x="208" y="262"/>
                </a:lnTo>
                <a:lnTo>
                  <a:pt x="230" y="253"/>
                </a:lnTo>
                <a:lnTo>
                  <a:pt x="243" y="249"/>
                </a:lnTo>
                <a:lnTo>
                  <a:pt x="243" y="238"/>
                </a:lnTo>
                <a:lnTo>
                  <a:pt x="245" y="220"/>
                </a:lnTo>
                <a:lnTo>
                  <a:pt x="256" y="214"/>
                </a:lnTo>
                <a:lnTo>
                  <a:pt x="271" y="220"/>
                </a:lnTo>
                <a:lnTo>
                  <a:pt x="273" y="227"/>
                </a:lnTo>
                <a:lnTo>
                  <a:pt x="284" y="212"/>
                </a:lnTo>
                <a:lnTo>
                  <a:pt x="312" y="199"/>
                </a:lnTo>
                <a:lnTo>
                  <a:pt x="336" y="196"/>
                </a:lnTo>
                <a:lnTo>
                  <a:pt x="358" y="196"/>
                </a:lnTo>
                <a:lnTo>
                  <a:pt x="354" y="175"/>
                </a:lnTo>
                <a:lnTo>
                  <a:pt x="351" y="164"/>
                </a:lnTo>
                <a:lnTo>
                  <a:pt x="328" y="147"/>
                </a:lnTo>
                <a:lnTo>
                  <a:pt x="327" y="142"/>
                </a:lnTo>
                <a:lnTo>
                  <a:pt x="340" y="124"/>
                </a:lnTo>
                <a:lnTo>
                  <a:pt x="353" y="121"/>
                </a:lnTo>
                <a:lnTo>
                  <a:pt x="349" y="111"/>
                </a:lnTo>
                <a:lnTo>
                  <a:pt x="356" y="93"/>
                </a:lnTo>
                <a:lnTo>
                  <a:pt x="356" y="82"/>
                </a:lnTo>
                <a:lnTo>
                  <a:pt x="360" y="61"/>
                </a:lnTo>
                <a:lnTo>
                  <a:pt x="364" y="52"/>
                </a:lnTo>
                <a:lnTo>
                  <a:pt x="377" y="54"/>
                </a:lnTo>
                <a:lnTo>
                  <a:pt x="384" y="39"/>
                </a:lnTo>
                <a:lnTo>
                  <a:pt x="377" y="26"/>
                </a:lnTo>
                <a:lnTo>
                  <a:pt x="373" y="9"/>
                </a:lnTo>
                <a:lnTo>
                  <a:pt x="364" y="11"/>
                </a:lnTo>
                <a:lnTo>
                  <a:pt x="321" y="2"/>
                </a:lnTo>
                <a:lnTo>
                  <a:pt x="293" y="0"/>
                </a:lnTo>
                <a:lnTo>
                  <a:pt x="266" y="6"/>
                </a:lnTo>
                <a:lnTo>
                  <a:pt x="242" y="17"/>
                </a:lnTo>
                <a:lnTo>
                  <a:pt x="214" y="32"/>
                </a:lnTo>
                <a:lnTo>
                  <a:pt x="193" y="48"/>
                </a:lnTo>
                <a:lnTo>
                  <a:pt x="173" y="50"/>
                </a:lnTo>
                <a:lnTo>
                  <a:pt x="145" y="45"/>
                </a:lnTo>
                <a:lnTo>
                  <a:pt x="119" y="54"/>
                </a:lnTo>
                <a:lnTo>
                  <a:pt x="102" y="58"/>
                </a:lnTo>
                <a:lnTo>
                  <a:pt x="83" y="52"/>
                </a:lnTo>
                <a:lnTo>
                  <a:pt x="56" y="41"/>
                </a:lnTo>
                <a:lnTo>
                  <a:pt x="41" y="37"/>
                </a:lnTo>
                <a:lnTo>
                  <a:pt x="20" y="33"/>
                </a:lnTo>
                <a:lnTo>
                  <a:pt x="9" y="33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19" name="Freeform 18"/>
          <p:cNvSpPr>
            <a:spLocks noChangeAspect="1"/>
          </p:cNvSpPr>
          <p:nvPr/>
        </p:nvSpPr>
        <p:spPr bwMode="auto">
          <a:xfrm>
            <a:off x="3260576" y="5029547"/>
            <a:ext cx="204788" cy="322263"/>
          </a:xfrm>
          <a:custGeom>
            <a:avLst/>
            <a:gdLst>
              <a:gd name="T0" fmla="*/ 11070 w 148"/>
              <a:gd name="T1" fmla="*/ 51978 h 248"/>
              <a:gd name="T2" fmla="*/ 19372 w 148"/>
              <a:gd name="T3" fmla="*/ 58475 h 248"/>
              <a:gd name="T4" fmla="*/ 19372 w 148"/>
              <a:gd name="T5" fmla="*/ 68871 h 248"/>
              <a:gd name="T6" fmla="*/ 17988 w 148"/>
              <a:gd name="T7" fmla="*/ 75368 h 248"/>
              <a:gd name="T8" fmla="*/ 13837 w 148"/>
              <a:gd name="T9" fmla="*/ 84464 h 248"/>
              <a:gd name="T10" fmla="*/ 13837 w 148"/>
              <a:gd name="T11" fmla="*/ 106555 h 248"/>
              <a:gd name="T12" fmla="*/ 16604 w 148"/>
              <a:gd name="T13" fmla="*/ 115651 h 248"/>
              <a:gd name="T14" fmla="*/ 5535 w 148"/>
              <a:gd name="T15" fmla="*/ 133843 h 248"/>
              <a:gd name="T16" fmla="*/ 5535 w 148"/>
              <a:gd name="T17" fmla="*/ 137741 h 248"/>
              <a:gd name="T18" fmla="*/ 0 w 148"/>
              <a:gd name="T19" fmla="*/ 148137 h 248"/>
              <a:gd name="T20" fmla="*/ 5535 w 148"/>
              <a:gd name="T21" fmla="*/ 158533 h 248"/>
              <a:gd name="T22" fmla="*/ 5535 w 148"/>
              <a:gd name="T23" fmla="*/ 165030 h 248"/>
              <a:gd name="T24" fmla="*/ 11070 w 148"/>
              <a:gd name="T25" fmla="*/ 155934 h 248"/>
              <a:gd name="T26" fmla="*/ 22139 w 148"/>
              <a:gd name="T27" fmla="*/ 168928 h 248"/>
              <a:gd name="T28" fmla="*/ 19372 w 148"/>
              <a:gd name="T29" fmla="*/ 181923 h 248"/>
              <a:gd name="T30" fmla="*/ 15221 w 148"/>
              <a:gd name="T31" fmla="*/ 185821 h 248"/>
              <a:gd name="T32" fmla="*/ 22139 w 148"/>
              <a:gd name="T33" fmla="*/ 196217 h 248"/>
              <a:gd name="T34" fmla="*/ 30441 w 148"/>
              <a:gd name="T35" fmla="*/ 200115 h 248"/>
              <a:gd name="T36" fmla="*/ 45662 w 148"/>
              <a:gd name="T37" fmla="*/ 209211 h 248"/>
              <a:gd name="T38" fmla="*/ 59499 w 148"/>
              <a:gd name="T39" fmla="*/ 218307 h 248"/>
              <a:gd name="T40" fmla="*/ 60883 w 148"/>
              <a:gd name="T41" fmla="*/ 226104 h 248"/>
              <a:gd name="T42" fmla="*/ 76104 w 148"/>
              <a:gd name="T43" fmla="*/ 231302 h 248"/>
              <a:gd name="T44" fmla="*/ 89941 w 148"/>
              <a:gd name="T45" fmla="*/ 226104 h 248"/>
              <a:gd name="T46" fmla="*/ 103778 w 148"/>
              <a:gd name="T47" fmla="*/ 217008 h 248"/>
              <a:gd name="T48" fmla="*/ 114847 w 148"/>
              <a:gd name="T49" fmla="*/ 202714 h 248"/>
              <a:gd name="T50" fmla="*/ 120382 w 148"/>
              <a:gd name="T51" fmla="*/ 193618 h 248"/>
              <a:gd name="T52" fmla="*/ 134219 w 148"/>
              <a:gd name="T53" fmla="*/ 171527 h 248"/>
              <a:gd name="T54" fmla="*/ 138370 w 148"/>
              <a:gd name="T55" fmla="*/ 153335 h 248"/>
              <a:gd name="T56" fmla="*/ 139754 w 148"/>
              <a:gd name="T57" fmla="*/ 137741 h 248"/>
              <a:gd name="T58" fmla="*/ 149440 w 148"/>
              <a:gd name="T59" fmla="*/ 127346 h 248"/>
              <a:gd name="T60" fmla="*/ 134219 w 148"/>
              <a:gd name="T61" fmla="*/ 124747 h 248"/>
              <a:gd name="T62" fmla="*/ 128684 w 148"/>
              <a:gd name="T63" fmla="*/ 116950 h 248"/>
              <a:gd name="T64" fmla="*/ 120382 w 148"/>
              <a:gd name="T65" fmla="*/ 119549 h 248"/>
              <a:gd name="T66" fmla="*/ 106545 w 148"/>
              <a:gd name="T67" fmla="*/ 114351 h 248"/>
              <a:gd name="T68" fmla="*/ 103778 w 148"/>
              <a:gd name="T69" fmla="*/ 97459 h 248"/>
              <a:gd name="T70" fmla="*/ 101010 w 148"/>
              <a:gd name="T71" fmla="*/ 85764 h 248"/>
              <a:gd name="T72" fmla="*/ 106545 w 148"/>
              <a:gd name="T73" fmla="*/ 74069 h 248"/>
              <a:gd name="T74" fmla="*/ 106545 w 148"/>
              <a:gd name="T75" fmla="*/ 38983 h 248"/>
              <a:gd name="T76" fmla="*/ 106545 w 148"/>
              <a:gd name="T77" fmla="*/ 25989 h 248"/>
              <a:gd name="T78" fmla="*/ 101010 w 148"/>
              <a:gd name="T79" fmla="*/ 18192 h 248"/>
              <a:gd name="T80" fmla="*/ 87173 w 148"/>
              <a:gd name="T81" fmla="*/ 16893 h 248"/>
              <a:gd name="T82" fmla="*/ 78871 w 148"/>
              <a:gd name="T83" fmla="*/ 14294 h 248"/>
              <a:gd name="T84" fmla="*/ 70569 w 148"/>
              <a:gd name="T85" fmla="*/ 2599 h 248"/>
              <a:gd name="T86" fmla="*/ 60883 w 148"/>
              <a:gd name="T87" fmla="*/ 0 h 248"/>
              <a:gd name="T88" fmla="*/ 56732 w 148"/>
              <a:gd name="T89" fmla="*/ 5198 h 248"/>
              <a:gd name="T90" fmla="*/ 55348 w 148"/>
              <a:gd name="T91" fmla="*/ 2599 h 248"/>
              <a:gd name="T92" fmla="*/ 41511 w 148"/>
              <a:gd name="T93" fmla="*/ 5198 h 248"/>
              <a:gd name="T94" fmla="*/ 33209 w 148"/>
              <a:gd name="T95" fmla="*/ 0 h 248"/>
              <a:gd name="T96" fmla="*/ 22139 w 148"/>
              <a:gd name="T97" fmla="*/ 5198 h 248"/>
              <a:gd name="T98" fmla="*/ 19372 w 148"/>
              <a:gd name="T99" fmla="*/ 27288 h 248"/>
              <a:gd name="T100" fmla="*/ 16604 w 148"/>
              <a:gd name="T101" fmla="*/ 40283 h 248"/>
              <a:gd name="T102" fmla="*/ 11070 w 148"/>
              <a:gd name="T103" fmla="*/ 51978 h 24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8"/>
              <a:gd name="T157" fmla="*/ 0 h 248"/>
              <a:gd name="T158" fmla="*/ 148 w 148"/>
              <a:gd name="T159" fmla="*/ 248 h 24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8" h="248">
                <a:moveTo>
                  <a:pt x="11" y="56"/>
                </a:moveTo>
                <a:lnTo>
                  <a:pt x="20" y="63"/>
                </a:lnTo>
                <a:lnTo>
                  <a:pt x="20" y="74"/>
                </a:lnTo>
                <a:lnTo>
                  <a:pt x="19" y="81"/>
                </a:lnTo>
                <a:lnTo>
                  <a:pt x="13" y="91"/>
                </a:lnTo>
                <a:lnTo>
                  <a:pt x="13" y="115"/>
                </a:lnTo>
                <a:lnTo>
                  <a:pt x="17" y="124"/>
                </a:lnTo>
                <a:lnTo>
                  <a:pt x="4" y="144"/>
                </a:lnTo>
                <a:lnTo>
                  <a:pt x="7" y="148"/>
                </a:lnTo>
                <a:lnTo>
                  <a:pt x="0" y="159"/>
                </a:lnTo>
                <a:lnTo>
                  <a:pt x="6" y="170"/>
                </a:lnTo>
                <a:lnTo>
                  <a:pt x="7" y="178"/>
                </a:lnTo>
                <a:lnTo>
                  <a:pt x="11" y="168"/>
                </a:lnTo>
                <a:lnTo>
                  <a:pt x="22" y="181"/>
                </a:lnTo>
                <a:lnTo>
                  <a:pt x="20" y="194"/>
                </a:lnTo>
                <a:lnTo>
                  <a:pt x="15" y="200"/>
                </a:lnTo>
                <a:lnTo>
                  <a:pt x="22" y="211"/>
                </a:lnTo>
                <a:lnTo>
                  <a:pt x="31" y="215"/>
                </a:lnTo>
                <a:lnTo>
                  <a:pt x="46" y="224"/>
                </a:lnTo>
                <a:lnTo>
                  <a:pt x="59" y="235"/>
                </a:lnTo>
                <a:lnTo>
                  <a:pt x="61" y="242"/>
                </a:lnTo>
                <a:lnTo>
                  <a:pt x="76" y="248"/>
                </a:lnTo>
                <a:lnTo>
                  <a:pt x="89" y="242"/>
                </a:lnTo>
                <a:lnTo>
                  <a:pt x="105" y="233"/>
                </a:lnTo>
                <a:lnTo>
                  <a:pt x="113" y="217"/>
                </a:lnTo>
                <a:lnTo>
                  <a:pt x="120" y="207"/>
                </a:lnTo>
                <a:lnTo>
                  <a:pt x="133" y="183"/>
                </a:lnTo>
                <a:lnTo>
                  <a:pt x="137" y="165"/>
                </a:lnTo>
                <a:lnTo>
                  <a:pt x="139" y="148"/>
                </a:lnTo>
                <a:lnTo>
                  <a:pt x="148" y="137"/>
                </a:lnTo>
                <a:lnTo>
                  <a:pt x="133" y="133"/>
                </a:lnTo>
                <a:lnTo>
                  <a:pt x="128" y="126"/>
                </a:lnTo>
                <a:lnTo>
                  <a:pt x="120" y="128"/>
                </a:lnTo>
                <a:lnTo>
                  <a:pt x="107" y="122"/>
                </a:lnTo>
                <a:lnTo>
                  <a:pt x="104" y="105"/>
                </a:lnTo>
                <a:lnTo>
                  <a:pt x="100" y="93"/>
                </a:lnTo>
                <a:lnTo>
                  <a:pt x="107" y="80"/>
                </a:lnTo>
                <a:lnTo>
                  <a:pt x="107" y="41"/>
                </a:lnTo>
                <a:lnTo>
                  <a:pt x="107" y="28"/>
                </a:lnTo>
                <a:lnTo>
                  <a:pt x="100" y="20"/>
                </a:lnTo>
                <a:lnTo>
                  <a:pt x="87" y="19"/>
                </a:lnTo>
                <a:lnTo>
                  <a:pt x="78" y="15"/>
                </a:lnTo>
                <a:lnTo>
                  <a:pt x="70" y="2"/>
                </a:lnTo>
                <a:lnTo>
                  <a:pt x="61" y="0"/>
                </a:lnTo>
                <a:lnTo>
                  <a:pt x="57" y="6"/>
                </a:lnTo>
                <a:lnTo>
                  <a:pt x="56" y="2"/>
                </a:lnTo>
                <a:lnTo>
                  <a:pt x="41" y="4"/>
                </a:lnTo>
                <a:lnTo>
                  <a:pt x="33" y="0"/>
                </a:lnTo>
                <a:lnTo>
                  <a:pt x="22" y="7"/>
                </a:lnTo>
                <a:lnTo>
                  <a:pt x="20" y="30"/>
                </a:lnTo>
                <a:lnTo>
                  <a:pt x="17" y="44"/>
                </a:lnTo>
                <a:lnTo>
                  <a:pt x="11" y="56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0" name="Freeform 19"/>
          <p:cNvSpPr>
            <a:spLocks noChangeAspect="1"/>
          </p:cNvSpPr>
          <p:nvPr/>
        </p:nvSpPr>
        <p:spPr bwMode="auto">
          <a:xfrm>
            <a:off x="3411389" y="4356447"/>
            <a:ext cx="757237" cy="522288"/>
          </a:xfrm>
          <a:custGeom>
            <a:avLst/>
            <a:gdLst>
              <a:gd name="T0" fmla="*/ 122535 w 550"/>
              <a:gd name="T1" fmla="*/ 42874 h 402"/>
              <a:gd name="T2" fmla="*/ 103260 w 550"/>
              <a:gd name="T3" fmla="*/ 53268 h 402"/>
              <a:gd name="T4" fmla="*/ 93622 w 550"/>
              <a:gd name="T5" fmla="*/ 120828 h 402"/>
              <a:gd name="T6" fmla="*/ 61956 w 550"/>
              <a:gd name="T7" fmla="*/ 157206 h 402"/>
              <a:gd name="T8" fmla="*/ 17898 w 550"/>
              <a:gd name="T9" fmla="*/ 175395 h 402"/>
              <a:gd name="T10" fmla="*/ 0 w 550"/>
              <a:gd name="T11" fmla="*/ 201380 h 402"/>
              <a:gd name="T12" fmla="*/ 16522 w 550"/>
              <a:gd name="T13" fmla="*/ 220868 h 402"/>
              <a:gd name="T14" fmla="*/ 16522 w 550"/>
              <a:gd name="T15" fmla="*/ 240356 h 402"/>
              <a:gd name="T16" fmla="*/ 41304 w 550"/>
              <a:gd name="T17" fmla="*/ 245553 h 402"/>
              <a:gd name="T18" fmla="*/ 52318 w 550"/>
              <a:gd name="T19" fmla="*/ 274136 h 402"/>
              <a:gd name="T20" fmla="*/ 59202 w 550"/>
              <a:gd name="T21" fmla="*/ 302719 h 402"/>
              <a:gd name="T22" fmla="*/ 75724 w 550"/>
              <a:gd name="T23" fmla="*/ 302719 h 402"/>
              <a:gd name="T24" fmla="*/ 104636 w 550"/>
              <a:gd name="T25" fmla="*/ 304018 h 402"/>
              <a:gd name="T26" fmla="*/ 104636 w 550"/>
              <a:gd name="T27" fmla="*/ 319609 h 402"/>
              <a:gd name="T28" fmla="*/ 122535 w 550"/>
              <a:gd name="T29" fmla="*/ 333901 h 402"/>
              <a:gd name="T30" fmla="*/ 122535 w 550"/>
              <a:gd name="T31" fmla="*/ 353389 h 402"/>
              <a:gd name="T32" fmla="*/ 161085 w 550"/>
              <a:gd name="T33" fmla="*/ 362484 h 402"/>
              <a:gd name="T34" fmla="*/ 214780 w 550"/>
              <a:gd name="T35" fmla="*/ 374177 h 402"/>
              <a:gd name="T36" fmla="*/ 253330 w 550"/>
              <a:gd name="T37" fmla="*/ 363783 h 402"/>
              <a:gd name="T38" fmla="*/ 298764 w 550"/>
              <a:gd name="T39" fmla="*/ 368980 h 402"/>
              <a:gd name="T40" fmla="*/ 326300 w 550"/>
              <a:gd name="T41" fmla="*/ 353389 h 402"/>
              <a:gd name="T42" fmla="*/ 399270 w 550"/>
              <a:gd name="T43" fmla="*/ 323507 h 402"/>
              <a:gd name="T44" fmla="*/ 441951 w 550"/>
              <a:gd name="T45" fmla="*/ 326105 h 402"/>
              <a:gd name="T46" fmla="*/ 476371 w 550"/>
              <a:gd name="T47" fmla="*/ 332601 h 402"/>
              <a:gd name="T48" fmla="*/ 495646 w 550"/>
              <a:gd name="T49" fmla="*/ 317011 h 402"/>
              <a:gd name="T50" fmla="*/ 497023 w 550"/>
              <a:gd name="T51" fmla="*/ 263742 h 402"/>
              <a:gd name="T52" fmla="*/ 517675 w 550"/>
              <a:gd name="T53" fmla="*/ 245553 h 402"/>
              <a:gd name="T54" fmla="*/ 535573 w 550"/>
              <a:gd name="T55" fmla="*/ 245553 h 402"/>
              <a:gd name="T56" fmla="*/ 538327 w 550"/>
              <a:gd name="T57" fmla="*/ 231262 h 402"/>
              <a:gd name="T58" fmla="*/ 550718 w 550"/>
              <a:gd name="T59" fmla="*/ 218270 h 402"/>
              <a:gd name="T60" fmla="*/ 524559 w 550"/>
              <a:gd name="T61" fmla="*/ 210474 h 402"/>
              <a:gd name="T62" fmla="*/ 490139 w 550"/>
              <a:gd name="T63" fmla="*/ 216970 h 402"/>
              <a:gd name="T64" fmla="*/ 458473 w 550"/>
              <a:gd name="T65" fmla="*/ 210474 h 402"/>
              <a:gd name="T66" fmla="*/ 452965 w 550"/>
              <a:gd name="T67" fmla="*/ 185789 h 402"/>
              <a:gd name="T68" fmla="*/ 441951 w 550"/>
              <a:gd name="T69" fmla="*/ 162403 h 402"/>
              <a:gd name="T70" fmla="*/ 436444 w 550"/>
              <a:gd name="T71" fmla="*/ 139017 h 402"/>
              <a:gd name="T72" fmla="*/ 439197 w 550"/>
              <a:gd name="T73" fmla="*/ 115631 h 402"/>
              <a:gd name="T74" fmla="*/ 414415 w 550"/>
              <a:gd name="T75" fmla="*/ 81851 h 402"/>
              <a:gd name="T76" fmla="*/ 406154 w 550"/>
              <a:gd name="T77" fmla="*/ 57166 h 402"/>
              <a:gd name="T78" fmla="*/ 382749 w 550"/>
              <a:gd name="T79" fmla="*/ 38977 h 402"/>
              <a:gd name="T80" fmla="*/ 364851 w 550"/>
              <a:gd name="T81" fmla="*/ 7795 h 402"/>
              <a:gd name="T82" fmla="*/ 349706 w 550"/>
              <a:gd name="T83" fmla="*/ 0 h 402"/>
              <a:gd name="T84" fmla="*/ 329054 w 550"/>
              <a:gd name="T85" fmla="*/ 12992 h 402"/>
              <a:gd name="T86" fmla="*/ 307025 w 550"/>
              <a:gd name="T87" fmla="*/ 14291 h 402"/>
              <a:gd name="T88" fmla="*/ 289127 w 550"/>
              <a:gd name="T89" fmla="*/ 24685 h 402"/>
              <a:gd name="T90" fmla="*/ 260214 w 550"/>
              <a:gd name="T91" fmla="*/ 27284 h 402"/>
              <a:gd name="T92" fmla="*/ 235432 w 550"/>
              <a:gd name="T93" fmla="*/ 12992 h 402"/>
              <a:gd name="T94" fmla="*/ 205142 w 550"/>
              <a:gd name="T95" fmla="*/ 22087 h 402"/>
              <a:gd name="T96" fmla="*/ 180360 w 550"/>
              <a:gd name="T97" fmla="*/ 20788 h 402"/>
              <a:gd name="T98" fmla="*/ 151447 w 550"/>
              <a:gd name="T99" fmla="*/ 18189 h 402"/>
              <a:gd name="T100" fmla="*/ 136303 w 550"/>
              <a:gd name="T101" fmla="*/ 25984 h 402"/>
              <a:gd name="T102" fmla="*/ 128042 w 550"/>
              <a:gd name="T103" fmla="*/ 28583 h 40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50"/>
              <a:gd name="T157" fmla="*/ 0 h 402"/>
              <a:gd name="T158" fmla="*/ 550 w 550"/>
              <a:gd name="T159" fmla="*/ 402 h 40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50" h="402">
                <a:moveTo>
                  <a:pt x="132" y="35"/>
                </a:moveTo>
                <a:lnTo>
                  <a:pt x="122" y="46"/>
                </a:lnTo>
                <a:lnTo>
                  <a:pt x="115" y="54"/>
                </a:lnTo>
                <a:lnTo>
                  <a:pt x="102" y="57"/>
                </a:lnTo>
                <a:lnTo>
                  <a:pt x="96" y="119"/>
                </a:lnTo>
                <a:lnTo>
                  <a:pt x="95" y="130"/>
                </a:lnTo>
                <a:lnTo>
                  <a:pt x="80" y="154"/>
                </a:lnTo>
                <a:lnTo>
                  <a:pt x="62" y="169"/>
                </a:lnTo>
                <a:lnTo>
                  <a:pt x="50" y="182"/>
                </a:lnTo>
                <a:lnTo>
                  <a:pt x="19" y="189"/>
                </a:lnTo>
                <a:lnTo>
                  <a:pt x="3" y="203"/>
                </a:lnTo>
                <a:lnTo>
                  <a:pt x="0" y="215"/>
                </a:lnTo>
                <a:lnTo>
                  <a:pt x="11" y="224"/>
                </a:lnTo>
                <a:lnTo>
                  <a:pt x="17" y="237"/>
                </a:lnTo>
                <a:lnTo>
                  <a:pt x="15" y="246"/>
                </a:lnTo>
                <a:lnTo>
                  <a:pt x="17" y="258"/>
                </a:lnTo>
                <a:lnTo>
                  <a:pt x="26" y="263"/>
                </a:lnTo>
                <a:lnTo>
                  <a:pt x="41" y="263"/>
                </a:lnTo>
                <a:lnTo>
                  <a:pt x="46" y="274"/>
                </a:lnTo>
                <a:lnTo>
                  <a:pt x="52" y="295"/>
                </a:lnTo>
                <a:lnTo>
                  <a:pt x="54" y="311"/>
                </a:lnTo>
                <a:lnTo>
                  <a:pt x="59" y="324"/>
                </a:lnTo>
                <a:lnTo>
                  <a:pt x="69" y="328"/>
                </a:lnTo>
                <a:lnTo>
                  <a:pt x="76" y="324"/>
                </a:lnTo>
                <a:lnTo>
                  <a:pt x="89" y="315"/>
                </a:lnTo>
                <a:lnTo>
                  <a:pt x="104" y="326"/>
                </a:lnTo>
                <a:lnTo>
                  <a:pt x="102" y="337"/>
                </a:lnTo>
                <a:lnTo>
                  <a:pt x="104" y="343"/>
                </a:lnTo>
                <a:lnTo>
                  <a:pt x="111" y="346"/>
                </a:lnTo>
                <a:lnTo>
                  <a:pt x="122" y="358"/>
                </a:lnTo>
                <a:lnTo>
                  <a:pt x="119" y="371"/>
                </a:lnTo>
                <a:lnTo>
                  <a:pt x="122" y="378"/>
                </a:lnTo>
                <a:lnTo>
                  <a:pt x="139" y="378"/>
                </a:lnTo>
                <a:lnTo>
                  <a:pt x="160" y="387"/>
                </a:lnTo>
                <a:lnTo>
                  <a:pt x="198" y="402"/>
                </a:lnTo>
                <a:lnTo>
                  <a:pt x="213" y="402"/>
                </a:lnTo>
                <a:lnTo>
                  <a:pt x="235" y="398"/>
                </a:lnTo>
                <a:lnTo>
                  <a:pt x="253" y="391"/>
                </a:lnTo>
                <a:lnTo>
                  <a:pt x="283" y="396"/>
                </a:lnTo>
                <a:lnTo>
                  <a:pt x="298" y="395"/>
                </a:lnTo>
                <a:lnTo>
                  <a:pt x="305" y="393"/>
                </a:lnTo>
                <a:lnTo>
                  <a:pt x="324" y="380"/>
                </a:lnTo>
                <a:lnTo>
                  <a:pt x="366" y="356"/>
                </a:lnTo>
                <a:lnTo>
                  <a:pt x="398" y="346"/>
                </a:lnTo>
                <a:lnTo>
                  <a:pt x="415" y="345"/>
                </a:lnTo>
                <a:lnTo>
                  <a:pt x="441" y="350"/>
                </a:lnTo>
                <a:lnTo>
                  <a:pt x="463" y="352"/>
                </a:lnTo>
                <a:lnTo>
                  <a:pt x="474" y="356"/>
                </a:lnTo>
                <a:lnTo>
                  <a:pt x="491" y="354"/>
                </a:lnTo>
                <a:lnTo>
                  <a:pt x="494" y="339"/>
                </a:lnTo>
                <a:lnTo>
                  <a:pt x="494" y="311"/>
                </a:lnTo>
                <a:lnTo>
                  <a:pt x="496" y="282"/>
                </a:lnTo>
                <a:lnTo>
                  <a:pt x="505" y="267"/>
                </a:lnTo>
                <a:lnTo>
                  <a:pt x="515" y="263"/>
                </a:lnTo>
                <a:lnTo>
                  <a:pt x="524" y="269"/>
                </a:lnTo>
                <a:lnTo>
                  <a:pt x="533" y="263"/>
                </a:lnTo>
                <a:lnTo>
                  <a:pt x="539" y="256"/>
                </a:lnTo>
                <a:lnTo>
                  <a:pt x="537" y="248"/>
                </a:lnTo>
                <a:lnTo>
                  <a:pt x="548" y="245"/>
                </a:lnTo>
                <a:lnTo>
                  <a:pt x="550" y="235"/>
                </a:lnTo>
                <a:lnTo>
                  <a:pt x="539" y="230"/>
                </a:lnTo>
                <a:lnTo>
                  <a:pt x="522" y="226"/>
                </a:lnTo>
                <a:lnTo>
                  <a:pt x="509" y="230"/>
                </a:lnTo>
                <a:lnTo>
                  <a:pt x="489" y="233"/>
                </a:lnTo>
                <a:lnTo>
                  <a:pt x="470" y="233"/>
                </a:lnTo>
                <a:lnTo>
                  <a:pt x="457" y="226"/>
                </a:lnTo>
                <a:lnTo>
                  <a:pt x="452" y="215"/>
                </a:lnTo>
                <a:lnTo>
                  <a:pt x="452" y="200"/>
                </a:lnTo>
                <a:lnTo>
                  <a:pt x="450" y="185"/>
                </a:lnTo>
                <a:lnTo>
                  <a:pt x="441" y="174"/>
                </a:lnTo>
                <a:lnTo>
                  <a:pt x="435" y="163"/>
                </a:lnTo>
                <a:lnTo>
                  <a:pt x="435" y="148"/>
                </a:lnTo>
                <a:lnTo>
                  <a:pt x="437" y="133"/>
                </a:lnTo>
                <a:lnTo>
                  <a:pt x="437" y="124"/>
                </a:lnTo>
                <a:lnTo>
                  <a:pt x="428" y="102"/>
                </a:lnTo>
                <a:lnTo>
                  <a:pt x="413" y="87"/>
                </a:lnTo>
                <a:lnTo>
                  <a:pt x="407" y="72"/>
                </a:lnTo>
                <a:lnTo>
                  <a:pt x="405" y="61"/>
                </a:lnTo>
                <a:lnTo>
                  <a:pt x="402" y="56"/>
                </a:lnTo>
                <a:lnTo>
                  <a:pt x="381" y="41"/>
                </a:lnTo>
                <a:lnTo>
                  <a:pt x="374" y="28"/>
                </a:lnTo>
                <a:lnTo>
                  <a:pt x="365" y="9"/>
                </a:lnTo>
                <a:lnTo>
                  <a:pt x="357" y="2"/>
                </a:lnTo>
                <a:lnTo>
                  <a:pt x="348" y="0"/>
                </a:lnTo>
                <a:lnTo>
                  <a:pt x="339" y="4"/>
                </a:lnTo>
                <a:lnTo>
                  <a:pt x="329" y="13"/>
                </a:lnTo>
                <a:lnTo>
                  <a:pt x="324" y="15"/>
                </a:lnTo>
                <a:lnTo>
                  <a:pt x="307" y="15"/>
                </a:lnTo>
                <a:lnTo>
                  <a:pt x="296" y="17"/>
                </a:lnTo>
                <a:lnTo>
                  <a:pt x="288" y="26"/>
                </a:lnTo>
                <a:lnTo>
                  <a:pt x="274" y="31"/>
                </a:lnTo>
                <a:lnTo>
                  <a:pt x="259" y="30"/>
                </a:lnTo>
                <a:lnTo>
                  <a:pt x="251" y="22"/>
                </a:lnTo>
                <a:lnTo>
                  <a:pt x="235" y="13"/>
                </a:lnTo>
                <a:lnTo>
                  <a:pt x="221" y="17"/>
                </a:lnTo>
                <a:lnTo>
                  <a:pt x="204" y="24"/>
                </a:lnTo>
                <a:lnTo>
                  <a:pt x="191" y="26"/>
                </a:lnTo>
                <a:lnTo>
                  <a:pt x="180" y="22"/>
                </a:lnTo>
                <a:lnTo>
                  <a:pt x="167" y="15"/>
                </a:lnTo>
                <a:lnTo>
                  <a:pt x="150" y="20"/>
                </a:lnTo>
                <a:lnTo>
                  <a:pt x="139" y="26"/>
                </a:lnTo>
                <a:lnTo>
                  <a:pt x="135" y="28"/>
                </a:lnTo>
                <a:lnTo>
                  <a:pt x="132" y="30"/>
                </a:lnTo>
                <a:lnTo>
                  <a:pt x="128" y="31"/>
                </a:lnTo>
                <a:lnTo>
                  <a:pt x="132" y="35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1" name="Freeform 20"/>
          <p:cNvSpPr>
            <a:spLocks noChangeAspect="1"/>
          </p:cNvSpPr>
          <p:nvPr/>
        </p:nvSpPr>
        <p:spPr bwMode="auto">
          <a:xfrm>
            <a:off x="1998514" y="3857972"/>
            <a:ext cx="288925" cy="241300"/>
          </a:xfrm>
          <a:custGeom>
            <a:avLst/>
            <a:gdLst>
              <a:gd name="T0" fmla="*/ 0 w 210"/>
              <a:gd name="T1" fmla="*/ 31304 h 185"/>
              <a:gd name="T2" fmla="*/ 5503 w 210"/>
              <a:gd name="T3" fmla="*/ 24782 h 185"/>
              <a:gd name="T4" fmla="*/ 4128 w 210"/>
              <a:gd name="T5" fmla="*/ 15652 h 185"/>
              <a:gd name="T6" fmla="*/ 34396 w 210"/>
              <a:gd name="T7" fmla="*/ 0 h 185"/>
              <a:gd name="T8" fmla="*/ 37147 w 210"/>
              <a:gd name="T9" fmla="*/ 5217 h 185"/>
              <a:gd name="T10" fmla="*/ 60537 w 210"/>
              <a:gd name="T11" fmla="*/ 2609 h 185"/>
              <a:gd name="T12" fmla="*/ 78422 w 210"/>
              <a:gd name="T13" fmla="*/ 3913 h 185"/>
              <a:gd name="T14" fmla="*/ 70168 w 210"/>
              <a:gd name="T15" fmla="*/ 11739 h 185"/>
              <a:gd name="T16" fmla="*/ 75671 w 210"/>
              <a:gd name="T17" fmla="*/ 23478 h 185"/>
              <a:gd name="T18" fmla="*/ 89429 w 210"/>
              <a:gd name="T19" fmla="*/ 27391 h 185"/>
              <a:gd name="T20" fmla="*/ 104563 w 210"/>
              <a:gd name="T21" fmla="*/ 26086 h 185"/>
              <a:gd name="T22" fmla="*/ 116946 w 210"/>
              <a:gd name="T23" fmla="*/ 16956 h 185"/>
              <a:gd name="T24" fmla="*/ 136208 w 210"/>
              <a:gd name="T25" fmla="*/ 15652 h 185"/>
              <a:gd name="T26" fmla="*/ 141711 w 210"/>
              <a:gd name="T27" fmla="*/ 23478 h 185"/>
              <a:gd name="T28" fmla="*/ 154093 w 210"/>
              <a:gd name="T29" fmla="*/ 29999 h 185"/>
              <a:gd name="T30" fmla="*/ 170603 w 210"/>
              <a:gd name="T31" fmla="*/ 31304 h 185"/>
              <a:gd name="T32" fmla="*/ 167852 w 210"/>
              <a:gd name="T33" fmla="*/ 44347 h 185"/>
              <a:gd name="T34" fmla="*/ 169227 w 210"/>
              <a:gd name="T35" fmla="*/ 70434 h 185"/>
              <a:gd name="T36" fmla="*/ 171979 w 210"/>
              <a:gd name="T37" fmla="*/ 86085 h 185"/>
              <a:gd name="T38" fmla="*/ 191241 w 210"/>
              <a:gd name="T39" fmla="*/ 86085 h 185"/>
              <a:gd name="T40" fmla="*/ 195368 w 210"/>
              <a:gd name="T41" fmla="*/ 96520 h 185"/>
              <a:gd name="T42" fmla="*/ 196744 w 210"/>
              <a:gd name="T43" fmla="*/ 105650 h 185"/>
              <a:gd name="T44" fmla="*/ 206375 w 210"/>
              <a:gd name="T45" fmla="*/ 118694 h 185"/>
              <a:gd name="T46" fmla="*/ 193993 w 210"/>
              <a:gd name="T47" fmla="*/ 127824 h 185"/>
              <a:gd name="T48" fmla="*/ 184362 w 210"/>
              <a:gd name="T49" fmla="*/ 135650 h 185"/>
              <a:gd name="T50" fmla="*/ 173355 w 210"/>
              <a:gd name="T51" fmla="*/ 135650 h 185"/>
              <a:gd name="T52" fmla="*/ 158221 w 210"/>
              <a:gd name="T53" fmla="*/ 139563 h 185"/>
              <a:gd name="T54" fmla="*/ 158221 w 210"/>
              <a:gd name="T55" fmla="*/ 153910 h 185"/>
              <a:gd name="T56" fmla="*/ 152717 w 210"/>
              <a:gd name="T57" fmla="*/ 163041 h 185"/>
              <a:gd name="T58" fmla="*/ 137583 w 210"/>
              <a:gd name="T59" fmla="*/ 174779 h 185"/>
              <a:gd name="T60" fmla="*/ 112818 w 210"/>
              <a:gd name="T61" fmla="*/ 156519 h 185"/>
              <a:gd name="T62" fmla="*/ 107315 w 210"/>
              <a:gd name="T63" fmla="*/ 140867 h 185"/>
              <a:gd name="T64" fmla="*/ 83926 w 210"/>
              <a:gd name="T65" fmla="*/ 135650 h 185"/>
              <a:gd name="T66" fmla="*/ 77047 w 210"/>
              <a:gd name="T67" fmla="*/ 114781 h 185"/>
              <a:gd name="T68" fmla="*/ 60537 w 210"/>
              <a:gd name="T69" fmla="*/ 103042 h 185"/>
              <a:gd name="T70" fmla="*/ 53658 w 210"/>
              <a:gd name="T71" fmla="*/ 86085 h 185"/>
              <a:gd name="T72" fmla="*/ 41275 w 210"/>
              <a:gd name="T73" fmla="*/ 73042 h 185"/>
              <a:gd name="T74" fmla="*/ 33020 w 210"/>
              <a:gd name="T75" fmla="*/ 57390 h 185"/>
              <a:gd name="T76" fmla="*/ 16510 w 210"/>
              <a:gd name="T77" fmla="*/ 45651 h 185"/>
              <a:gd name="T78" fmla="*/ 0 w 210"/>
              <a:gd name="T79" fmla="*/ 31304 h 18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0"/>
              <a:gd name="T121" fmla="*/ 0 h 185"/>
              <a:gd name="T122" fmla="*/ 210 w 210"/>
              <a:gd name="T123" fmla="*/ 185 h 18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2" name="Freeform 21"/>
          <p:cNvSpPr>
            <a:spLocks noChangeAspect="1"/>
          </p:cNvSpPr>
          <p:nvPr/>
        </p:nvSpPr>
        <p:spPr bwMode="auto">
          <a:xfrm>
            <a:off x="2195364" y="4045297"/>
            <a:ext cx="77787" cy="92075"/>
          </a:xfrm>
          <a:custGeom>
            <a:avLst/>
            <a:gdLst>
              <a:gd name="T0" fmla="*/ 40941 w 57"/>
              <a:gd name="T1" fmla="*/ 67435 h 71"/>
              <a:gd name="T2" fmla="*/ 42305 w 57"/>
              <a:gd name="T3" fmla="*/ 45389 h 71"/>
              <a:gd name="T4" fmla="*/ 55952 w 57"/>
              <a:gd name="T5" fmla="*/ 37608 h 71"/>
              <a:gd name="T6" fmla="*/ 55952 w 57"/>
              <a:gd name="T7" fmla="*/ 27233 h 71"/>
              <a:gd name="T8" fmla="*/ 49129 w 57"/>
              <a:gd name="T9" fmla="*/ 18156 h 71"/>
              <a:gd name="T10" fmla="*/ 40941 w 57"/>
              <a:gd name="T11" fmla="*/ 7781 h 71"/>
              <a:gd name="T12" fmla="*/ 38211 w 57"/>
              <a:gd name="T13" fmla="*/ 0 h 71"/>
              <a:gd name="T14" fmla="*/ 25929 w 57"/>
              <a:gd name="T15" fmla="*/ 0 h 71"/>
              <a:gd name="T16" fmla="*/ 16376 w 57"/>
              <a:gd name="T17" fmla="*/ 5187 h 71"/>
              <a:gd name="T18" fmla="*/ 16376 w 57"/>
              <a:gd name="T19" fmla="*/ 18156 h 71"/>
              <a:gd name="T20" fmla="*/ 8188 w 57"/>
              <a:gd name="T21" fmla="*/ 29827 h 71"/>
              <a:gd name="T22" fmla="*/ 0 w 57"/>
              <a:gd name="T23" fmla="*/ 33718 h 71"/>
              <a:gd name="T24" fmla="*/ 5459 w 57"/>
              <a:gd name="T25" fmla="*/ 44092 h 71"/>
              <a:gd name="T26" fmla="*/ 16376 w 57"/>
              <a:gd name="T27" fmla="*/ 47983 h 71"/>
              <a:gd name="T28" fmla="*/ 27294 w 57"/>
              <a:gd name="T29" fmla="*/ 50576 h 71"/>
              <a:gd name="T30" fmla="*/ 34117 w 57"/>
              <a:gd name="T31" fmla="*/ 57061 h 71"/>
              <a:gd name="T32" fmla="*/ 40941 w 57"/>
              <a:gd name="T33" fmla="*/ 67435 h 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7"/>
              <a:gd name="T52" fmla="*/ 0 h 71"/>
              <a:gd name="T53" fmla="*/ 57 w 57"/>
              <a:gd name="T54" fmla="*/ 71 h 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3" name="Freeform 22"/>
          <p:cNvSpPr>
            <a:spLocks noChangeAspect="1"/>
          </p:cNvSpPr>
          <p:nvPr/>
        </p:nvSpPr>
        <p:spPr bwMode="auto">
          <a:xfrm>
            <a:off x="2098526" y="3683347"/>
            <a:ext cx="296863" cy="293688"/>
          </a:xfrm>
          <a:custGeom>
            <a:avLst/>
            <a:gdLst>
              <a:gd name="T0" fmla="*/ 89749 w 215"/>
              <a:gd name="T1" fmla="*/ 5175 h 227"/>
              <a:gd name="T2" fmla="*/ 67657 w 215"/>
              <a:gd name="T3" fmla="*/ 31051 h 227"/>
              <a:gd name="T4" fmla="*/ 67657 w 215"/>
              <a:gd name="T5" fmla="*/ 38813 h 227"/>
              <a:gd name="T6" fmla="*/ 55230 w 215"/>
              <a:gd name="T7" fmla="*/ 49164 h 227"/>
              <a:gd name="T8" fmla="*/ 57992 w 215"/>
              <a:gd name="T9" fmla="*/ 53045 h 227"/>
              <a:gd name="T10" fmla="*/ 52469 w 215"/>
              <a:gd name="T11" fmla="*/ 60808 h 227"/>
              <a:gd name="T12" fmla="*/ 40042 w 215"/>
              <a:gd name="T13" fmla="*/ 72452 h 227"/>
              <a:gd name="T14" fmla="*/ 26234 w 215"/>
              <a:gd name="T15" fmla="*/ 86683 h 227"/>
              <a:gd name="T16" fmla="*/ 20711 w 215"/>
              <a:gd name="T17" fmla="*/ 93152 h 227"/>
              <a:gd name="T18" fmla="*/ 26234 w 215"/>
              <a:gd name="T19" fmla="*/ 100915 h 227"/>
              <a:gd name="T20" fmla="*/ 22092 w 215"/>
              <a:gd name="T21" fmla="*/ 111265 h 227"/>
              <a:gd name="T22" fmla="*/ 16569 w 215"/>
              <a:gd name="T23" fmla="*/ 119028 h 227"/>
              <a:gd name="T24" fmla="*/ 8285 w 215"/>
              <a:gd name="T25" fmla="*/ 122909 h 227"/>
              <a:gd name="T26" fmla="*/ 0 w 215"/>
              <a:gd name="T27" fmla="*/ 133259 h 227"/>
              <a:gd name="T28" fmla="*/ 1381 w 215"/>
              <a:gd name="T29" fmla="*/ 143610 h 227"/>
              <a:gd name="T30" fmla="*/ 11046 w 215"/>
              <a:gd name="T31" fmla="*/ 148785 h 227"/>
              <a:gd name="T32" fmla="*/ 35900 w 215"/>
              <a:gd name="T33" fmla="*/ 148785 h 227"/>
              <a:gd name="T34" fmla="*/ 49707 w 215"/>
              <a:gd name="T35" fmla="*/ 142316 h 227"/>
              <a:gd name="T36" fmla="*/ 63515 w 215"/>
              <a:gd name="T37" fmla="*/ 139728 h 227"/>
              <a:gd name="T38" fmla="*/ 74561 w 215"/>
              <a:gd name="T39" fmla="*/ 148785 h 227"/>
              <a:gd name="T40" fmla="*/ 85607 w 215"/>
              <a:gd name="T41" fmla="*/ 152666 h 227"/>
              <a:gd name="T42" fmla="*/ 100795 w 215"/>
              <a:gd name="T43" fmla="*/ 155254 h 227"/>
              <a:gd name="T44" fmla="*/ 98034 w 215"/>
              <a:gd name="T45" fmla="*/ 170779 h 227"/>
              <a:gd name="T46" fmla="*/ 102176 w 215"/>
              <a:gd name="T47" fmla="*/ 210886 h 227"/>
              <a:gd name="T48" fmla="*/ 115984 w 215"/>
              <a:gd name="T49" fmla="*/ 209592 h 227"/>
              <a:gd name="T50" fmla="*/ 122887 w 215"/>
              <a:gd name="T51" fmla="*/ 208299 h 227"/>
              <a:gd name="T52" fmla="*/ 127030 w 215"/>
              <a:gd name="T53" fmla="*/ 196655 h 227"/>
              <a:gd name="T54" fmla="*/ 129791 w 215"/>
              <a:gd name="T55" fmla="*/ 173367 h 227"/>
              <a:gd name="T56" fmla="*/ 139457 w 215"/>
              <a:gd name="T57" fmla="*/ 161722 h 227"/>
              <a:gd name="T58" fmla="*/ 139457 w 215"/>
              <a:gd name="T59" fmla="*/ 142316 h 227"/>
              <a:gd name="T60" fmla="*/ 146360 w 215"/>
              <a:gd name="T61" fmla="*/ 129378 h 227"/>
              <a:gd name="T62" fmla="*/ 164310 w 215"/>
              <a:gd name="T63" fmla="*/ 122909 h 227"/>
              <a:gd name="T64" fmla="*/ 196068 w 215"/>
              <a:gd name="T65" fmla="*/ 91858 h 227"/>
              <a:gd name="T66" fmla="*/ 200210 w 215"/>
              <a:gd name="T67" fmla="*/ 76333 h 227"/>
              <a:gd name="T68" fmla="*/ 194687 w 215"/>
              <a:gd name="T69" fmla="*/ 54339 h 227"/>
              <a:gd name="T70" fmla="*/ 214018 w 215"/>
              <a:gd name="T71" fmla="*/ 38813 h 227"/>
              <a:gd name="T72" fmla="*/ 218160 w 215"/>
              <a:gd name="T73" fmla="*/ 15525 h 227"/>
              <a:gd name="T74" fmla="*/ 202971 w 215"/>
              <a:gd name="T75" fmla="*/ 5175 h 227"/>
              <a:gd name="T76" fmla="*/ 194687 w 215"/>
              <a:gd name="T77" fmla="*/ 2588 h 227"/>
              <a:gd name="T78" fmla="*/ 178118 w 215"/>
              <a:gd name="T79" fmla="*/ 0 h 227"/>
              <a:gd name="T80" fmla="*/ 139457 w 215"/>
              <a:gd name="T81" fmla="*/ 0 h 227"/>
              <a:gd name="T82" fmla="*/ 128411 w 215"/>
              <a:gd name="T83" fmla="*/ 7763 h 227"/>
              <a:gd name="T84" fmla="*/ 120126 w 215"/>
              <a:gd name="T85" fmla="*/ 18113 h 227"/>
              <a:gd name="T86" fmla="*/ 121507 w 215"/>
              <a:gd name="T87" fmla="*/ 27169 h 227"/>
              <a:gd name="T88" fmla="*/ 133934 w 215"/>
              <a:gd name="T89" fmla="*/ 36226 h 227"/>
              <a:gd name="T90" fmla="*/ 143599 w 215"/>
              <a:gd name="T91" fmla="*/ 46576 h 227"/>
              <a:gd name="T92" fmla="*/ 143599 w 215"/>
              <a:gd name="T93" fmla="*/ 60808 h 227"/>
              <a:gd name="T94" fmla="*/ 128411 w 215"/>
              <a:gd name="T95" fmla="*/ 71158 h 227"/>
              <a:gd name="T96" fmla="*/ 111841 w 215"/>
              <a:gd name="T97" fmla="*/ 72452 h 227"/>
              <a:gd name="T98" fmla="*/ 100795 w 215"/>
              <a:gd name="T99" fmla="*/ 73745 h 227"/>
              <a:gd name="T100" fmla="*/ 96653 w 215"/>
              <a:gd name="T101" fmla="*/ 65983 h 227"/>
              <a:gd name="T102" fmla="*/ 92511 w 215"/>
              <a:gd name="T103" fmla="*/ 54339 h 227"/>
              <a:gd name="T104" fmla="*/ 98034 w 215"/>
              <a:gd name="T105" fmla="*/ 43989 h 227"/>
              <a:gd name="T106" fmla="*/ 98034 w 215"/>
              <a:gd name="T107" fmla="*/ 32344 h 227"/>
              <a:gd name="T108" fmla="*/ 96653 w 215"/>
              <a:gd name="T109" fmla="*/ 20700 h 227"/>
              <a:gd name="T110" fmla="*/ 89749 w 215"/>
              <a:gd name="T111" fmla="*/ 5175 h 2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15"/>
              <a:gd name="T169" fmla="*/ 0 h 227"/>
              <a:gd name="T170" fmla="*/ 215 w 215"/>
              <a:gd name="T171" fmla="*/ 227 h 2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4" name="Freeform 23" descr="Diagonal weit nach oben"/>
          <p:cNvSpPr>
            <a:spLocks noChangeAspect="1"/>
          </p:cNvSpPr>
          <p:nvPr/>
        </p:nvSpPr>
        <p:spPr bwMode="auto">
          <a:xfrm>
            <a:off x="1095226" y="3221385"/>
            <a:ext cx="415925" cy="358775"/>
          </a:xfrm>
          <a:custGeom>
            <a:avLst/>
            <a:gdLst>
              <a:gd name="T0" fmla="*/ 107070 w 303"/>
              <a:gd name="T1" fmla="*/ 106208 h 277"/>
              <a:gd name="T2" fmla="*/ 104324 w 303"/>
              <a:gd name="T3" fmla="*/ 128226 h 277"/>
              <a:gd name="T4" fmla="*/ 85107 w 303"/>
              <a:gd name="T5" fmla="*/ 125636 h 277"/>
              <a:gd name="T6" fmla="*/ 63144 w 303"/>
              <a:gd name="T7" fmla="*/ 155426 h 277"/>
              <a:gd name="T8" fmla="*/ 32945 w 303"/>
              <a:gd name="T9" fmla="*/ 177445 h 277"/>
              <a:gd name="T10" fmla="*/ 13727 w 303"/>
              <a:gd name="T11" fmla="*/ 182626 h 277"/>
              <a:gd name="T12" fmla="*/ 5491 w 303"/>
              <a:gd name="T13" fmla="*/ 186511 h 277"/>
              <a:gd name="T14" fmla="*/ 10982 w 303"/>
              <a:gd name="T15" fmla="*/ 204644 h 277"/>
              <a:gd name="T16" fmla="*/ 5491 w 303"/>
              <a:gd name="T17" fmla="*/ 226663 h 277"/>
              <a:gd name="T18" fmla="*/ 16472 w 303"/>
              <a:gd name="T19" fmla="*/ 226663 h 277"/>
              <a:gd name="T20" fmla="*/ 30199 w 303"/>
              <a:gd name="T21" fmla="*/ 226663 h 277"/>
              <a:gd name="T22" fmla="*/ 24708 w 303"/>
              <a:gd name="T23" fmla="*/ 243501 h 277"/>
              <a:gd name="T24" fmla="*/ 53535 w 303"/>
              <a:gd name="T25" fmla="*/ 248682 h 277"/>
              <a:gd name="T26" fmla="*/ 79616 w 303"/>
              <a:gd name="T27" fmla="*/ 257748 h 277"/>
              <a:gd name="T28" fmla="*/ 107070 w 303"/>
              <a:gd name="T29" fmla="*/ 243501 h 277"/>
              <a:gd name="T30" fmla="*/ 185313 w 303"/>
              <a:gd name="T31" fmla="*/ 248682 h 277"/>
              <a:gd name="T32" fmla="*/ 225121 w 303"/>
              <a:gd name="T33" fmla="*/ 225368 h 277"/>
              <a:gd name="T34" fmla="*/ 247084 w 303"/>
              <a:gd name="T35" fmla="*/ 204644 h 277"/>
              <a:gd name="T36" fmla="*/ 266302 w 303"/>
              <a:gd name="T37" fmla="*/ 182626 h 277"/>
              <a:gd name="T38" fmla="*/ 275911 w 303"/>
              <a:gd name="T39" fmla="*/ 125636 h 277"/>
              <a:gd name="T40" fmla="*/ 286892 w 303"/>
              <a:gd name="T41" fmla="*/ 99732 h 277"/>
              <a:gd name="T42" fmla="*/ 270420 w 303"/>
              <a:gd name="T43" fmla="*/ 71237 h 277"/>
              <a:gd name="T44" fmla="*/ 248457 w 303"/>
              <a:gd name="T45" fmla="*/ 64761 h 277"/>
              <a:gd name="T46" fmla="*/ 237475 w 303"/>
              <a:gd name="T47" fmla="*/ 38856 h 277"/>
              <a:gd name="T48" fmla="*/ 269047 w 303"/>
              <a:gd name="T49" fmla="*/ 0 h 277"/>
              <a:gd name="T50" fmla="*/ 222376 w 303"/>
              <a:gd name="T51" fmla="*/ 5181 h 277"/>
              <a:gd name="T52" fmla="*/ 199040 w 303"/>
              <a:gd name="T53" fmla="*/ 16838 h 277"/>
              <a:gd name="T54" fmla="*/ 178450 w 303"/>
              <a:gd name="T55" fmla="*/ 20723 h 277"/>
              <a:gd name="T56" fmla="*/ 201785 w 303"/>
              <a:gd name="T57" fmla="*/ 40152 h 277"/>
              <a:gd name="T58" fmla="*/ 156487 w 303"/>
              <a:gd name="T59" fmla="*/ 46628 h 277"/>
              <a:gd name="T60" fmla="*/ 112561 w 303"/>
              <a:gd name="T61" fmla="*/ 29790 h 277"/>
              <a:gd name="T62" fmla="*/ 100206 w 303"/>
              <a:gd name="T63" fmla="*/ 49218 h 277"/>
              <a:gd name="T64" fmla="*/ 98834 w 303"/>
              <a:gd name="T65" fmla="*/ 62170 h 277"/>
              <a:gd name="T66" fmla="*/ 86479 w 303"/>
              <a:gd name="T67" fmla="*/ 82894 h 277"/>
              <a:gd name="T68" fmla="*/ 71380 w 303"/>
              <a:gd name="T69" fmla="*/ 103617 h 277"/>
              <a:gd name="T70" fmla="*/ 89225 w 303"/>
              <a:gd name="T71" fmla="*/ 116569 h 2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03"/>
              <a:gd name="T109" fmla="*/ 0 h 277"/>
              <a:gd name="T110" fmla="*/ 303 w 303"/>
              <a:gd name="T111" fmla="*/ 277 h 2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5" name="Freeform 24"/>
          <p:cNvSpPr>
            <a:spLocks noChangeAspect="1"/>
          </p:cNvSpPr>
          <p:nvPr/>
        </p:nvSpPr>
        <p:spPr bwMode="auto">
          <a:xfrm>
            <a:off x="2512864" y="3318222"/>
            <a:ext cx="198437" cy="231775"/>
          </a:xfrm>
          <a:custGeom>
            <a:avLst/>
            <a:gdLst>
              <a:gd name="T0" fmla="*/ 10948 w 145"/>
              <a:gd name="T1" fmla="*/ 141137 h 179"/>
              <a:gd name="T2" fmla="*/ 17791 w 145"/>
              <a:gd name="T3" fmla="*/ 152790 h 179"/>
              <a:gd name="T4" fmla="*/ 34213 w 145"/>
              <a:gd name="T5" fmla="*/ 152790 h 179"/>
              <a:gd name="T6" fmla="*/ 49267 w 145"/>
              <a:gd name="T7" fmla="*/ 157970 h 179"/>
              <a:gd name="T8" fmla="*/ 60215 w 145"/>
              <a:gd name="T9" fmla="*/ 165739 h 179"/>
              <a:gd name="T10" fmla="*/ 71164 w 145"/>
              <a:gd name="T11" fmla="*/ 165739 h 179"/>
              <a:gd name="T12" fmla="*/ 64321 w 145"/>
              <a:gd name="T13" fmla="*/ 155380 h 179"/>
              <a:gd name="T14" fmla="*/ 69795 w 145"/>
              <a:gd name="T15" fmla="*/ 141137 h 179"/>
              <a:gd name="T16" fmla="*/ 76638 w 145"/>
              <a:gd name="T17" fmla="*/ 125599 h 179"/>
              <a:gd name="T18" fmla="*/ 80743 w 145"/>
              <a:gd name="T19" fmla="*/ 108766 h 179"/>
              <a:gd name="T20" fmla="*/ 98534 w 145"/>
              <a:gd name="T21" fmla="*/ 98407 h 179"/>
              <a:gd name="T22" fmla="*/ 112220 w 145"/>
              <a:gd name="T23" fmla="*/ 91933 h 179"/>
              <a:gd name="T24" fmla="*/ 110851 w 145"/>
              <a:gd name="T25" fmla="*/ 81574 h 179"/>
              <a:gd name="T26" fmla="*/ 110851 w 145"/>
              <a:gd name="T27" fmla="*/ 63447 h 179"/>
              <a:gd name="T28" fmla="*/ 112220 w 145"/>
              <a:gd name="T29" fmla="*/ 56973 h 179"/>
              <a:gd name="T30" fmla="*/ 125905 w 145"/>
              <a:gd name="T31" fmla="*/ 54383 h 179"/>
              <a:gd name="T32" fmla="*/ 132747 w 145"/>
              <a:gd name="T33" fmla="*/ 58267 h 179"/>
              <a:gd name="T34" fmla="*/ 143696 w 145"/>
              <a:gd name="T35" fmla="*/ 46614 h 179"/>
              <a:gd name="T36" fmla="*/ 138222 w 145"/>
              <a:gd name="T37" fmla="*/ 36255 h 179"/>
              <a:gd name="T38" fmla="*/ 132747 w 145"/>
              <a:gd name="T39" fmla="*/ 33666 h 179"/>
              <a:gd name="T40" fmla="*/ 119062 w 145"/>
              <a:gd name="T41" fmla="*/ 33666 h 179"/>
              <a:gd name="T42" fmla="*/ 112220 w 145"/>
              <a:gd name="T43" fmla="*/ 33666 h 179"/>
              <a:gd name="T44" fmla="*/ 110851 w 145"/>
              <a:gd name="T45" fmla="*/ 18128 h 179"/>
              <a:gd name="T46" fmla="*/ 112220 w 145"/>
              <a:gd name="T47" fmla="*/ 5179 h 179"/>
              <a:gd name="T48" fmla="*/ 101271 w 145"/>
              <a:gd name="T49" fmla="*/ 0 h 179"/>
              <a:gd name="T50" fmla="*/ 99903 w 145"/>
              <a:gd name="T51" fmla="*/ 5179 h 179"/>
              <a:gd name="T52" fmla="*/ 76638 w 145"/>
              <a:gd name="T53" fmla="*/ 2590 h 179"/>
              <a:gd name="T54" fmla="*/ 71164 w 145"/>
              <a:gd name="T55" fmla="*/ 5179 h 179"/>
              <a:gd name="T56" fmla="*/ 76638 w 145"/>
              <a:gd name="T57" fmla="*/ 20717 h 179"/>
              <a:gd name="T58" fmla="*/ 75269 w 145"/>
              <a:gd name="T59" fmla="*/ 33666 h 179"/>
              <a:gd name="T60" fmla="*/ 65689 w 145"/>
              <a:gd name="T61" fmla="*/ 24602 h 179"/>
              <a:gd name="T62" fmla="*/ 61584 w 145"/>
              <a:gd name="T63" fmla="*/ 15538 h 179"/>
              <a:gd name="T64" fmla="*/ 49267 w 145"/>
              <a:gd name="T65" fmla="*/ 16833 h 179"/>
              <a:gd name="T66" fmla="*/ 43793 w 145"/>
              <a:gd name="T67" fmla="*/ 25897 h 179"/>
              <a:gd name="T68" fmla="*/ 41056 w 145"/>
              <a:gd name="T69" fmla="*/ 29781 h 179"/>
              <a:gd name="T70" fmla="*/ 41056 w 145"/>
              <a:gd name="T71" fmla="*/ 41435 h 179"/>
              <a:gd name="T72" fmla="*/ 38319 w 145"/>
              <a:gd name="T73" fmla="*/ 38845 h 179"/>
              <a:gd name="T74" fmla="*/ 27371 w 145"/>
              <a:gd name="T75" fmla="*/ 24602 h 179"/>
              <a:gd name="T76" fmla="*/ 21896 w 145"/>
              <a:gd name="T77" fmla="*/ 18128 h 179"/>
              <a:gd name="T78" fmla="*/ 15054 w 145"/>
              <a:gd name="T79" fmla="*/ 22012 h 179"/>
              <a:gd name="T80" fmla="*/ 16422 w 145"/>
              <a:gd name="T81" fmla="*/ 29781 h 179"/>
              <a:gd name="T82" fmla="*/ 16422 w 145"/>
              <a:gd name="T83" fmla="*/ 36255 h 179"/>
              <a:gd name="T84" fmla="*/ 5474 w 145"/>
              <a:gd name="T85" fmla="*/ 38845 h 179"/>
              <a:gd name="T86" fmla="*/ 5474 w 145"/>
              <a:gd name="T87" fmla="*/ 51793 h 179"/>
              <a:gd name="T88" fmla="*/ 15054 w 145"/>
              <a:gd name="T89" fmla="*/ 63447 h 179"/>
              <a:gd name="T90" fmla="*/ 15054 w 145"/>
              <a:gd name="T91" fmla="*/ 72511 h 179"/>
              <a:gd name="T92" fmla="*/ 10948 w 145"/>
              <a:gd name="T93" fmla="*/ 81574 h 179"/>
              <a:gd name="T94" fmla="*/ 0 w 145"/>
              <a:gd name="T95" fmla="*/ 89343 h 179"/>
              <a:gd name="T96" fmla="*/ 2737 w 145"/>
              <a:gd name="T97" fmla="*/ 98407 h 179"/>
              <a:gd name="T98" fmla="*/ 13685 w 145"/>
              <a:gd name="T99" fmla="*/ 106176 h 179"/>
              <a:gd name="T100" fmla="*/ 16422 w 145"/>
              <a:gd name="T101" fmla="*/ 113945 h 179"/>
              <a:gd name="T102" fmla="*/ 15054 w 145"/>
              <a:gd name="T103" fmla="*/ 132073 h 179"/>
              <a:gd name="T104" fmla="*/ 10948 w 145"/>
              <a:gd name="T105" fmla="*/ 141137 h 179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45"/>
              <a:gd name="T160" fmla="*/ 0 h 179"/>
              <a:gd name="T161" fmla="*/ 145 w 145"/>
              <a:gd name="T162" fmla="*/ 179 h 179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45" h="179">
                <a:moveTo>
                  <a:pt x="11" y="153"/>
                </a:moveTo>
                <a:lnTo>
                  <a:pt x="19" y="166"/>
                </a:lnTo>
                <a:lnTo>
                  <a:pt x="35" y="166"/>
                </a:lnTo>
                <a:lnTo>
                  <a:pt x="50" y="170"/>
                </a:lnTo>
                <a:lnTo>
                  <a:pt x="61" y="179"/>
                </a:lnTo>
                <a:lnTo>
                  <a:pt x="73" y="179"/>
                </a:lnTo>
                <a:lnTo>
                  <a:pt x="65" y="168"/>
                </a:lnTo>
                <a:lnTo>
                  <a:pt x="71" y="153"/>
                </a:lnTo>
                <a:lnTo>
                  <a:pt x="78" y="136"/>
                </a:lnTo>
                <a:lnTo>
                  <a:pt x="82" y="117"/>
                </a:lnTo>
                <a:lnTo>
                  <a:pt x="99" y="106"/>
                </a:lnTo>
                <a:lnTo>
                  <a:pt x="113" y="98"/>
                </a:lnTo>
                <a:lnTo>
                  <a:pt x="112" y="87"/>
                </a:lnTo>
                <a:lnTo>
                  <a:pt x="112" y="69"/>
                </a:lnTo>
                <a:lnTo>
                  <a:pt x="115" y="61"/>
                </a:lnTo>
                <a:lnTo>
                  <a:pt x="128" y="59"/>
                </a:lnTo>
                <a:lnTo>
                  <a:pt x="134" y="63"/>
                </a:lnTo>
                <a:lnTo>
                  <a:pt x="145" y="50"/>
                </a:lnTo>
                <a:lnTo>
                  <a:pt x="141" y="39"/>
                </a:lnTo>
                <a:lnTo>
                  <a:pt x="134" y="37"/>
                </a:lnTo>
                <a:lnTo>
                  <a:pt x="121" y="37"/>
                </a:lnTo>
                <a:lnTo>
                  <a:pt x="115" y="37"/>
                </a:lnTo>
                <a:lnTo>
                  <a:pt x="112" y="20"/>
                </a:lnTo>
                <a:lnTo>
                  <a:pt x="113" y="4"/>
                </a:lnTo>
                <a:lnTo>
                  <a:pt x="104" y="0"/>
                </a:lnTo>
                <a:lnTo>
                  <a:pt x="100" y="6"/>
                </a:lnTo>
                <a:lnTo>
                  <a:pt x="78" y="2"/>
                </a:lnTo>
                <a:lnTo>
                  <a:pt x="73" y="7"/>
                </a:lnTo>
                <a:lnTo>
                  <a:pt x="78" y="22"/>
                </a:lnTo>
                <a:lnTo>
                  <a:pt x="76" y="37"/>
                </a:lnTo>
                <a:lnTo>
                  <a:pt x="67" y="26"/>
                </a:lnTo>
                <a:lnTo>
                  <a:pt x="63" y="17"/>
                </a:lnTo>
                <a:lnTo>
                  <a:pt x="50" y="19"/>
                </a:lnTo>
                <a:lnTo>
                  <a:pt x="45" y="28"/>
                </a:lnTo>
                <a:lnTo>
                  <a:pt x="41" y="32"/>
                </a:lnTo>
                <a:lnTo>
                  <a:pt x="41" y="45"/>
                </a:lnTo>
                <a:lnTo>
                  <a:pt x="39" y="43"/>
                </a:lnTo>
                <a:lnTo>
                  <a:pt x="28" y="26"/>
                </a:lnTo>
                <a:lnTo>
                  <a:pt x="22" y="20"/>
                </a:lnTo>
                <a:lnTo>
                  <a:pt x="15" y="24"/>
                </a:lnTo>
                <a:lnTo>
                  <a:pt x="17" y="33"/>
                </a:lnTo>
                <a:lnTo>
                  <a:pt x="17" y="39"/>
                </a:lnTo>
                <a:lnTo>
                  <a:pt x="7" y="43"/>
                </a:lnTo>
                <a:lnTo>
                  <a:pt x="7" y="56"/>
                </a:lnTo>
                <a:lnTo>
                  <a:pt x="15" y="69"/>
                </a:lnTo>
                <a:lnTo>
                  <a:pt x="15" y="78"/>
                </a:lnTo>
                <a:lnTo>
                  <a:pt x="11" y="87"/>
                </a:lnTo>
                <a:lnTo>
                  <a:pt x="0" y="96"/>
                </a:lnTo>
                <a:lnTo>
                  <a:pt x="2" y="106"/>
                </a:lnTo>
                <a:lnTo>
                  <a:pt x="13" y="115"/>
                </a:lnTo>
                <a:lnTo>
                  <a:pt x="17" y="124"/>
                </a:lnTo>
                <a:lnTo>
                  <a:pt x="15" y="142"/>
                </a:lnTo>
                <a:lnTo>
                  <a:pt x="11" y="153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6" name="Freeform 25"/>
          <p:cNvSpPr>
            <a:spLocks noChangeAspect="1"/>
          </p:cNvSpPr>
          <p:nvPr/>
        </p:nvSpPr>
        <p:spPr bwMode="auto">
          <a:xfrm>
            <a:off x="2554139" y="3246785"/>
            <a:ext cx="150812" cy="87312"/>
          </a:xfrm>
          <a:custGeom>
            <a:avLst/>
            <a:gdLst>
              <a:gd name="T0" fmla="*/ 0 w 109"/>
              <a:gd name="T1" fmla="*/ 57780 h 68"/>
              <a:gd name="T2" fmla="*/ 8302 w 109"/>
              <a:gd name="T3" fmla="*/ 60348 h 68"/>
              <a:gd name="T4" fmla="*/ 19370 w 109"/>
              <a:gd name="T5" fmla="*/ 52644 h 68"/>
              <a:gd name="T6" fmla="*/ 30439 w 109"/>
              <a:gd name="T7" fmla="*/ 41088 h 68"/>
              <a:gd name="T8" fmla="*/ 60878 w 109"/>
              <a:gd name="T9" fmla="*/ 41088 h 68"/>
              <a:gd name="T10" fmla="*/ 87167 w 109"/>
              <a:gd name="T11" fmla="*/ 37236 h 68"/>
              <a:gd name="T12" fmla="*/ 103770 w 109"/>
              <a:gd name="T13" fmla="*/ 25680 h 68"/>
              <a:gd name="T14" fmla="*/ 106537 w 109"/>
              <a:gd name="T15" fmla="*/ 12840 h 68"/>
              <a:gd name="T16" fmla="*/ 109304 w 109"/>
              <a:gd name="T17" fmla="*/ 0 h 68"/>
              <a:gd name="T18" fmla="*/ 89934 w 109"/>
              <a:gd name="T19" fmla="*/ 7704 h 68"/>
              <a:gd name="T20" fmla="*/ 52577 w 109"/>
              <a:gd name="T21" fmla="*/ 23112 h 68"/>
              <a:gd name="T22" fmla="*/ 42891 w 109"/>
              <a:gd name="T23" fmla="*/ 24396 h 68"/>
              <a:gd name="T24" fmla="*/ 30439 w 109"/>
              <a:gd name="T25" fmla="*/ 32100 h 68"/>
              <a:gd name="T26" fmla="*/ 8302 w 109"/>
              <a:gd name="T27" fmla="*/ 34668 h 68"/>
              <a:gd name="T28" fmla="*/ 0 w 109"/>
              <a:gd name="T29" fmla="*/ 39804 h 68"/>
              <a:gd name="T30" fmla="*/ 0 w 109"/>
              <a:gd name="T31" fmla="*/ 57780 h 6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9"/>
              <a:gd name="T49" fmla="*/ 0 h 68"/>
              <a:gd name="T50" fmla="*/ 109 w 109"/>
              <a:gd name="T51" fmla="*/ 68 h 6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9" h="68">
                <a:moveTo>
                  <a:pt x="0" y="66"/>
                </a:moveTo>
                <a:lnTo>
                  <a:pt x="9" y="68"/>
                </a:lnTo>
                <a:lnTo>
                  <a:pt x="20" y="60"/>
                </a:lnTo>
                <a:lnTo>
                  <a:pt x="31" y="47"/>
                </a:lnTo>
                <a:lnTo>
                  <a:pt x="61" y="47"/>
                </a:lnTo>
                <a:lnTo>
                  <a:pt x="87" y="42"/>
                </a:lnTo>
                <a:lnTo>
                  <a:pt x="102" y="30"/>
                </a:lnTo>
                <a:lnTo>
                  <a:pt x="107" y="15"/>
                </a:lnTo>
                <a:lnTo>
                  <a:pt x="109" y="0"/>
                </a:lnTo>
                <a:lnTo>
                  <a:pt x="89" y="9"/>
                </a:lnTo>
                <a:lnTo>
                  <a:pt x="52" y="26"/>
                </a:lnTo>
                <a:lnTo>
                  <a:pt x="42" y="28"/>
                </a:lnTo>
                <a:lnTo>
                  <a:pt x="31" y="36"/>
                </a:lnTo>
                <a:lnTo>
                  <a:pt x="9" y="40"/>
                </a:lnTo>
                <a:lnTo>
                  <a:pt x="0" y="45"/>
                </a:lnTo>
                <a:lnTo>
                  <a:pt x="0" y="66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7" name="Freeform 26"/>
          <p:cNvSpPr>
            <a:spLocks noChangeAspect="1"/>
          </p:cNvSpPr>
          <p:nvPr/>
        </p:nvSpPr>
        <p:spPr bwMode="auto">
          <a:xfrm>
            <a:off x="2630339" y="3462685"/>
            <a:ext cx="66675" cy="74612"/>
          </a:xfrm>
          <a:custGeom>
            <a:avLst/>
            <a:gdLst>
              <a:gd name="T0" fmla="*/ 17023 w 47"/>
              <a:gd name="T1" fmla="*/ 0 h 57"/>
              <a:gd name="T2" fmla="*/ 49652 w 47"/>
              <a:gd name="T3" fmla="*/ 18326 h 57"/>
              <a:gd name="T4" fmla="*/ 51070 w 47"/>
              <a:gd name="T5" fmla="*/ 27489 h 57"/>
              <a:gd name="T6" fmla="*/ 38303 w 47"/>
              <a:gd name="T7" fmla="*/ 37960 h 57"/>
              <a:gd name="T8" fmla="*/ 28372 w 47"/>
              <a:gd name="T9" fmla="*/ 44505 h 57"/>
              <a:gd name="T10" fmla="*/ 31210 w 47"/>
              <a:gd name="T11" fmla="*/ 53668 h 57"/>
              <a:gd name="T12" fmla="*/ 17023 w 47"/>
              <a:gd name="T13" fmla="*/ 51050 h 57"/>
              <a:gd name="T14" fmla="*/ 2837 w 47"/>
              <a:gd name="T15" fmla="*/ 37960 h 57"/>
              <a:gd name="T16" fmla="*/ 0 w 47"/>
              <a:gd name="T17" fmla="*/ 27489 h 57"/>
              <a:gd name="T18" fmla="*/ 7093 w 47"/>
              <a:gd name="T19" fmla="*/ 15708 h 57"/>
              <a:gd name="T20" fmla="*/ 17023 w 47"/>
              <a:gd name="T21" fmla="*/ 0 h 5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"/>
              <a:gd name="T34" fmla="*/ 0 h 57"/>
              <a:gd name="T35" fmla="*/ 47 w 47"/>
              <a:gd name="T36" fmla="*/ 57 h 5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" h="57">
                <a:moveTo>
                  <a:pt x="15" y="0"/>
                </a:moveTo>
                <a:lnTo>
                  <a:pt x="45" y="20"/>
                </a:lnTo>
                <a:lnTo>
                  <a:pt x="47" y="29"/>
                </a:lnTo>
                <a:lnTo>
                  <a:pt x="36" y="40"/>
                </a:lnTo>
                <a:lnTo>
                  <a:pt x="26" y="48"/>
                </a:lnTo>
                <a:lnTo>
                  <a:pt x="28" y="57"/>
                </a:lnTo>
                <a:lnTo>
                  <a:pt x="15" y="55"/>
                </a:lnTo>
                <a:lnTo>
                  <a:pt x="2" y="40"/>
                </a:lnTo>
                <a:lnTo>
                  <a:pt x="0" y="29"/>
                </a:lnTo>
                <a:lnTo>
                  <a:pt x="6" y="17"/>
                </a:lnTo>
                <a:lnTo>
                  <a:pt x="15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8" name="Freeform 27"/>
          <p:cNvSpPr>
            <a:spLocks noChangeAspect="1"/>
          </p:cNvSpPr>
          <p:nvPr/>
        </p:nvSpPr>
        <p:spPr bwMode="auto">
          <a:xfrm>
            <a:off x="2711301" y="3443635"/>
            <a:ext cx="95250" cy="106362"/>
          </a:xfrm>
          <a:custGeom>
            <a:avLst/>
            <a:gdLst>
              <a:gd name="T0" fmla="*/ 64880 w 69"/>
              <a:gd name="T1" fmla="*/ 0 h 83"/>
              <a:gd name="T2" fmla="*/ 69022 w 69"/>
              <a:gd name="T3" fmla="*/ 5126 h 83"/>
              <a:gd name="T4" fmla="*/ 64880 w 69"/>
              <a:gd name="T5" fmla="*/ 7689 h 83"/>
              <a:gd name="T6" fmla="*/ 69022 w 69"/>
              <a:gd name="T7" fmla="*/ 15378 h 83"/>
              <a:gd name="T8" fmla="*/ 64880 w 69"/>
              <a:gd name="T9" fmla="*/ 26911 h 83"/>
              <a:gd name="T10" fmla="*/ 55217 w 69"/>
              <a:gd name="T11" fmla="*/ 33318 h 83"/>
              <a:gd name="T12" fmla="*/ 57978 w 69"/>
              <a:gd name="T13" fmla="*/ 42289 h 83"/>
              <a:gd name="T14" fmla="*/ 55217 w 69"/>
              <a:gd name="T15" fmla="*/ 48696 h 83"/>
              <a:gd name="T16" fmla="*/ 57978 w 69"/>
              <a:gd name="T17" fmla="*/ 57666 h 83"/>
              <a:gd name="T18" fmla="*/ 44174 w 69"/>
              <a:gd name="T19" fmla="*/ 75607 h 83"/>
              <a:gd name="T20" fmla="*/ 16565 w 69"/>
              <a:gd name="T21" fmla="*/ 57666 h 83"/>
              <a:gd name="T22" fmla="*/ 0 w 69"/>
              <a:gd name="T23" fmla="*/ 47414 h 83"/>
              <a:gd name="T24" fmla="*/ 8283 w 69"/>
              <a:gd name="T25" fmla="*/ 42289 h 83"/>
              <a:gd name="T26" fmla="*/ 8283 w 69"/>
              <a:gd name="T27" fmla="*/ 29474 h 83"/>
              <a:gd name="T28" fmla="*/ 27609 w 69"/>
              <a:gd name="T29" fmla="*/ 20504 h 83"/>
              <a:gd name="T30" fmla="*/ 35891 w 69"/>
              <a:gd name="T31" fmla="*/ 24348 h 83"/>
              <a:gd name="T32" fmla="*/ 44174 w 69"/>
              <a:gd name="T33" fmla="*/ 20504 h 83"/>
              <a:gd name="T34" fmla="*/ 60739 w 69"/>
              <a:gd name="T35" fmla="*/ 10252 h 83"/>
              <a:gd name="T36" fmla="*/ 64880 w 69"/>
              <a:gd name="T37" fmla="*/ 0 h 8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9"/>
              <a:gd name="T58" fmla="*/ 0 h 83"/>
              <a:gd name="T59" fmla="*/ 69 w 69"/>
              <a:gd name="T60" fmla="*/ 83 h 8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9" h="83">
                <a:moveTo>
                  <a:pt x="65" y="0"/>
                </a:moveTo>
                <a:lnTo>
                  <a:pt x="69" y="4"/>
                </a:lnTo>
                <a:lnTo>
                  <a:pt x="65" y="9"/>
                </a:lnTo>
                <a:lnTo>
                  <a:pt x="69" y="18"/>
                </a:lnTo>
                <a:lnTo>
                  <a:pt x="64" y="29"/>
                </a:lnTo>
                <a:lnTo>
                  <a:pt x="54" y="37"/>
                </a:lnTo>
                <a:lnTo>
                  <a:pt x="58" y="46"/>
                </a:lnTo>
                <a:lnTo>
                  <a:pt x="54" y="54"/>
                </a:lnTo>
                <a:lnTo>
                  <a:pt x="58" y="63"/>
                </a:lnTo>
                <a:lnTo>
                  <a:pt x="45" y="83"/>
                </a:lnTo>
                <a:lnTo>
                  <a:pt x="16" y="63"/>
                </a:lnTo>
                <a:lnTo>
                  <a:pt x="0" y="52"/>
                </a:lnTo>
                <a:lnTo>
                  <a:pt x="9" y="46"/>
                </a:lnTo>
                <a:lnTo>
                  <a:pt x="9" y="33"/>
                </a:lnTo>
                <a:lnTo>
                  <a:pt x="27" y="22"/>
                </a:lnTo>
                <a:lnTo>
                  <a:pt x="36" y="26"/>
                </a:lnTo>
                <a:lnTo>
                  <a:pt x="45" y="22"/>
                </a:lnTo>
                <a:lnTo>
                  <a:pt x="60" y="11"/>
                </a:lnTo>
                <a:lnTo>
                  <a:pt x="65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29" name="Freeform 28"/>
          <p:cNvSpPr>
            <a:spLocks noChangeAspect="1"/>
          </p:cNvSpPr>
          <p:nvPr/>
        </p:nvSpPr>
        <p:spPr bwMode="auto">
          <a:xfrm>
            <a:off x="2700189" y="3554760"/>
            <a:ext cx="38100" cy="44450"/>
          </a:xfrm>
          <a:custGeom>
            <a:avLst/>
            <a:gdLst>
              <a:gd name="T0" fmla="*/ 0 w 28"/>
              <a:gd name="T1" fmla="*/ 0 h 35"/>
              <a:gd name="T2" fmla="*/ 17689 w 28"/>
              <a:gd name="T3" fmla="*/ 5080 h 35"/>
              <a:gd name="T4" fmla="*/ 25854 w 28"/>
              <a:gd name="T5" fmla="*/ 13970 h 35"/>
              <a:gd name="T6" fmla="*/ 27214 w 28"/>
              <a:gd name="T7" fmla="*/ 24130 h 35"/>
              <a:gd name="T8" fmla="*/ 17689 w 28"/>
              <a:gd name="T9" fmla="*/ 30480 h 35"/>
              <a:gd name="T10" fmla="*/ 5443 w 28"/>
              <a:gd name="T11" fmla="*/ 25400 h 35"/>
              <a:gd name="T12" fmla="*/ 2721 w 28"/>
              <a:gd name="T13" fmla="*/ 17780 h 35"/>
              <a:gd name="T14" fmla="*/ 0 w 28"/>
              <a:gd name="T15" fmla="*/ 0 h 3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"/>
              <a:gd name="T25" fmla="*/ 0 h 35"/>
              <a:gd name="T26" fmla="*/ 28 w 28"/>
              <a:gd name="T27" fmla="*/ 35 h 3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" h="35">
                <a:moveTo>
                  <a:pt x="0" y="0"/>
                </a:moveTo>
                <a:lnTo>
                  <a:pt x="19" y="6"/>
                </a:lnTo>
                <a:lnTo>
                  <a:pt x="26" y="15"/>
                </a:lnTo>
                <a:lnTo>
                  <a:pt x="28" y="28"/>
                </a:lnTo>
                <a:lnTo>
                  <a:pt x="19" y="35"/>
                </a:lnTo>
                <a:lnTo>
                  <a:pt x="5" y="29"/>
                </a:lnTo>
                <a:lnTo>
                  <a:pt x="2" y="20"/>
                </a:lnTo>
                <a:lnTo>
                  <a:pt x="0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0" name="Freeform 29"/>
          <p:cNvSpPr>
            <a:spLocks noChangeAspect="1"/>
          </p:cNvSpPr>
          <p:nvPr/>
        </p:nvSpPr>
        <p:spPr bwMode="auto">
          <a:xfrm>
            <a:off x="2963714" y="3542060"/>
            <a:ext cx="22225" cy="38100"/>
          </a:xfrm>
          <a:custGeom>
            <a:avLst/>
            <a:gdLst>
              <a:gd name="T0" fmla="*/ 5556 w 16"/>
              <a:gd name="T1" fmla="*/ 0 h 29"/>
              <a:gd name="T2" fmla="*/ 0 w 16"/>
              <a:gd name="T3" fmla="*/ 5255 h 29"/>
              <a:gd name="T4" fmla="*/ 0 w 16"/>
              <a:gd name="T5" fmla="*/ 18393 h 29"/>
              <a:gd name="T6" fmla="*/ 11113 w 16"/>
              <a:gd name="T7" fmla="*/ 27590 h 29"/>
              <a:gd name="T8" fmla="*/ 13891 w 16"/>
              <a:gd name="T9" fmla="*/ 15766 h 29"/>
              <a:gd name="T10" fmla="*/ 5556 w 16"/>
              <a:gd name="T11" fmla="*/ 0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29"/>
              <a:gd name="T20" fmla="*/ 16 w 16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29">
                <a:moveTo>
                  <a:pt x="5" y="0"/>
                </a:moveTo>
                <a:lnTo>
                  <a:pt x="0" y="5"/>
                </a:lnTo>
                <a:lnTo>
                  <a:pt x="0" y="20"/>
                </a:lnTo>
                <a:lnTo>
                  <a:pt x="11" y="29"/>
                </a:lnTo>
                <a:lnTo>
                  <a:pt x="16" y="16"/>
                </a:lnTo>
                <a:lnTo>
                  <a:pt x="5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1" name="Freeform 30"/>
          <p:cNvSpPr>
            <a:spLocks noChangeAspect="1"/>
          </p:cNvSpPr>
          <p:nvPr/>
        </p:nvSpPr>
        <p:spPr bwMode="auto">
          <a:xfrm>
            <a:off x="2846239" y="3616672"/>
            <a:ext cx="33337" cy="26988"/>
          </a:xfrm>
          <a:custGeom>
            <a:avLst/>
            <a:gdLst>
              <a:gd name="T0" fmla="*/ 2778 w 24"/>
              <a:gd name="T1" fmla="*/ 0 h 22"/>
              <a:gd name="T2" fmla="*/ 0 w 24"/>
              <a:gd name="T3" fmla="*/ 3680 h 22"/>
              <a:gd name="T4" fmla="*/ 2778 w 24"/>
              <a:gd name="T5" fmla="*/ 12267 h 22"/>
              <a:gd name="T6" fmla="*/ 13890 w 24"/>
              <a:gd name="T7" fmla="*/ 17174 h 22"/>
              <a:gd name="T8" fmla="*/ 22225 w 24"/>
              <a:gd name="T9" fmla="*/ 11041 h 22"/>
              <a:gd name="T10" fmla="*/ 2778 w 24"/>
              <a:gd name="T11" fmla="*/ 0 h 2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4"/>
              <a:gd name="T19" fmla="*/ 0 h 22"/>
              <a:gd name="T20" fmla="*/ 24 w 24"/>
              <a:gd name="T21" fmla="*/ 22 h 2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4" h="22">
                <a:moveTo>
                  <a:pt x="2" y="0"/>
                </a:moveTo>
                <a:lnTo>
                  <a:pt x="0" y="4"/>
                </a:lnTo>
                <a:lnTo>
                  <a:pt x="2" y="15"/>
                </a:lnTo>
                <a:lnTo>
                  <a:pt x="15" y="22"/>
                </a:lnTo>
                <a:lnTo>
                  <a:pt x="24" y="13"/>
                </a:lnTo>
                <a:lnTo>
                  <a:pt x="2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2" name="Freeform 31"/>
          <p:cNvSpPr>
            <a:spLocks noChangeAspect="1"/>
          </p:cNvSpPr>
          <p:nvPr/>
        </p:nvSpPr>
        <p:spPr bwMode="auto">
          <a:xfrm>
            <a:off x="2247751" y="3530947"/>
            <a:ext cx="706438" cy="887413"/>
          </a:xfrm>
          <a:custGeom>
            <a:avLst/>
            <a:gdLst>
              <a:gd name="T0" fmla="*/ 202825 w 512"/>
              <a:gd name="T1" fmla="*/ 14271 h 684"/>
              <a:gd name="T2" fmla="*/ 206964 w 512"/>
              <a:gd name="T3" fmla="*/ 45409 h 684"/>
              <a:gd name="T4" fmla="*/ 205584 w 512"/>
              <a:gd name="T5" fmla="*/ 67464 h 684"/>
              <a:gd name="T6" fmla="*/ 231800 w 512"/>
              <a:gd name="T7" fmla="*/ 99899 h 684"/>
              <a:gd name="T8" fmla="*/ 191787 w 512"/>
              <a:gd name="T9" fmla="*/ 89520 h 684"/>
              <a:gd name="T10" fmla="*/ 158673 w 512"/>
              <a:gd name="T11" fmla="*/ 114170 h 684"/>
              <a:gd name="T12" fmla="*/ 136596 w 512"/>
              <a:gd name="T13" fmla="*/ 94709 h 684"/>
              <a:gd name="T14" fmla="*/ 95204 w 512"/>
              <a:gd name="T15" fmla="*/ 114170 h 684"/>
              <a:gd name="T16" fmla="*/ 104862 w 512"/>
              <a:gd name="T17" fmla="*/ 146605 h 684"/>
              <a:gd name="T18" fmla="*/ 82786 w 512"/>
              <a:gd name="T19" fmla="*/ 164768 h 684"/>
              <a:gd name="T20" fmla="*/ 85545 w 512"/>
              <a:gd name="T21" fmla="*/ 195906 h 684"/>
              <a:gd name="T22" fmla="*/ 57950 w 512"/>
              <a:gd name="T23" fmla="*/ 228340 h 684"/>
              <a:gd name="T24" fmla="*/ 28975 w 512"/>
              <a:gd name="T25" fmla="*/ 254288 h 684"/>
              <a:gd name="T26" fmla="*/ 19317 w 512"/>
              <a:gd name="T27" fmla="*/ 304886 h 684"/>
              <a:gd name="T28" fmla="*/ 16557 w 512"/>
              <a:gd name="T29" fmla="*/ 326942 h 684"/>
              <a:gd name="T30" fmla="*/ 2760 w 512"/>
              <a:gd name="T31" fmla="*/ 373648 h 684"/>
              <a:gd name="T32" fmla="*/ 19317 w 512"/>
              <a:gd name="T33" fmla="*/ 397001 h 684"/>
              <a:gd name="T34" fmla="*/ 0 w 512"/>
              <a:gd name="T35" fmla="*/ 425543 h 684"/>
              <a:gd name="T36" fmla="*/ 28975 w 512"/>
              <a:gd name="T37" fmla="*/ 456680 h 684"/>
              <a:gd name="T38" fmla="*/ 81406 w 512"/>
              <a:gd name="T39" fmla="*/ 464465 h 684"/>
              <a:gd name="T40" fmla="*/ 91064 w 512"/>
              <a:gd name="T41" fmla="*/ 486520 h 684"/>
              <a:gd name="T42" fmla="*/ 66229 w 512"/>
              <a:gd name="T43" fmla="*/ 517658 h 684"/>
              <a:gd name="T44" fmla="*/ 45532 w 512"/>
              <a:gd name="T45" fmla="*/ 566958 h 684"/>
              <a:gd name="T46" fmla="*/ 73127 w 512"/>
              <a:gd name="T47" fmla="*/ 598096 h 684"/>
              <a:gd name="T48" fmla="*/ 99343 w 512"/>
              <a:gd name="T49" fmla="*/ 587716 h 684"/>
              <a:gd name="T50" fmla="*/ 126938 w 512"/>
              <a:gd name="T51" fmla="*/ 596798 h 684"/>
              <a:gd name="T52" fmla="*/ 150394 w 512"/>
              <a:gd name="T53" fmla="*/ 616259 h 684"/>
              <a:gd name="T54" fmla="*/ 197306 w 512"/>
              <a:gd name="T55" fmla="*/ 622746 h 684"/>
              <a:gd name="T56" fmla="*/ 230420 w 512"/>
              <a:gd name="T57" fmla="*/ 627935 h 684"/>
              <a:gd name="T58" fmla="*/ 278712 w 512"/>
              <a:gd name="T59" fmla="*/ 627935 h 684"/>
              <a:gd name="T60" fmla="*/ 309067 w 512"/>
              <a:gd name="T61" fmla="*/ 625341 h 684"/>
              <a:gd name="T62" fmla="*/ 343561 w 512"/>
              <a:gd name="T63" fmla="*/ 625341 h 684"/>
              <a:gd name="T64" fmla="*/ 384954 w 512"/>
              <a:gd name="T65" fmla="*/ 633125 h 684"/>
              <a:gd name="T66" fmla="*/ 376675 w 512"/>
              <a:gd name="T67" fmla="*/ 607177 h 684"/>
              <a:gd name="T68" fmla="*/ 434625 w 512"/>
              <a:gd name="T69" fmla="*/ 553984 h 684"/>
              <a:gd name="T70" fmla="*/ 405650 w 512"/>
              <a:gd name="T71" fmla="*/ 529334 h 684"/>
              <a:gd name="T72" fmla="*/ 349080 w 512"/>
              <a:gd name="T73" fmla="*/ 476141 h 684"/>
              <a:gd name="T74" fmla="*/ 335282 w 512"/>
              <a:gd name="T75" fmla="*/ 430733 h 684"/>
              <a:gd name="T76" fmla="*/ 354599 w 512"/>
              <a:gd name="T77" fmla="*/ 419056 h 684"/>
              <a:gd name="T78" fmla="*/ 466359 w 512"/>
              <a:gd name="T79" fmla="*/ 373648 h 684"/>
              <a:gd name="T80" fmla="*/ 506372 w 512"/>
              <a:gd name="T81" fmla="*/ 371053 h 684"/>
              <a:gd name="T82" fmla="*/ 516031 w 512"/>
              <a:gd name="T83" fmla="*/ 338618 h 684"/>
              <a:gd name="T84" fmla="*/ 504993 w 512"/>
              <a:gd name="T85" fmla="*/ 280236 h 684"/>
              <a:gd name="T86" fmla="*/ 495334 w 512"/>
              <a:gd name="T87" fmla="*/ 238719 h 684"/>
              <a:gd name="T88" fmla="*/ 481537 w 512"/>
              <a:gd name="T89" fmla="*/ 194608 h 684"/>
              <a:gd name="T90" fmla="*/ 460840 w 512"/>
              <a:gd name="T91" fmla="*/ 121954 h 684"/>
              <a:gd name="T92" fmla="*/ 418068 w 512"/>
              <a:gd name="T93" fmla="*/ 79141 h 684"/>
              <a:gd name="T94" fmla="*/ 380814 w 512"/>
              <a:gd name="T95" fmla="*/ 76546 h 684"/>
              <a:gd name="T96" fmla="*/ 320105 w 512"/>
              <a:gd name="T97" fmla="*/ 98601 h 684"/>
              <a:gd name="T98" fmla="*/ 317345 w 512"/>
              <a:gd name="T99" fmla="*/ 81735 h 684"/>
              <a:gd name="T100" fmla="*/ 286990 w 512"/>
              <a:gd name="T101" fmla="*/ 54490 h 684"/>
              <a:gd name="T102" fmla="*/ 262155 w 512"/>
              <a:gd name="T103" fmla="*/ 14271 h 684"/>
              <a:gd name="T104" fmla="*/ 227661 w 512"/>
              <a:gd name="T105" fmla="*/ 2595 h 68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2"/>
              <a:gd name="T160" fmla="*/ 0 h 684"/>
              <a:gd name="T161" fmla="*/ 512 w 512"/>
              <a:gd name="T162" fmla="*/ 684 h 68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2" h="684">
                <a:moveTo>
                  <a:pt x="212" y="0"/>
                </a:moveTo>
                <a:lnTo>
                  <a:pt x="201" y="7"/>
                </a:lnTo>
                <a:lnTo>
                  <a:pt x="201" y="15"/>
                </a:lnTo>
                <a:lnTo>
                  <a:pt x="203" y="22"/>
                </a:lnTo>
                <a:lnTo>
                  <a:pt x="205" y="33"/>
                </a:lnTo>
                <a:lnTo>
                  <a:pt x="207" y="48"/>
                </a:lnTo>
                <a:lnTo>
                  <a:pt x="201" y="54"/>
                </a:lnTo>
                <a:lnTo>
                  <a:pt x="201" y="63"/>
                </a:lnTo>
                <a:lnTo>
                  <a:pt x="203" y="72"/>
                </a:lnTo>
                <a:lnTo>
                  <a:pt x="218" y="85"/>
                </a:lnTo>
                <a:lnTo>
                  <a:pt x="227" y="87"/>
                </a:lnTo>
                <a:lnTo>
                  <a:pt x="231" y="107"/>
                </a:lnTo>
                <a:lnTo>
                  <a:pt x="210" y="102"/>
                </a:lnTo>
                <a:lnTo>
                  <a:pt x="199" y="91"/>
                </a:lnTo>
                <a:lnTo>
                  <a:pt x="190" y="96"/>
                </a:lnTo>
                <a:lnTo>
                  <a:pt x="173" y="117"/>
                </a:lnTo>
                <a:lnTo>
                  <a:pt x="166" y="124"/>
                </a:lnTo>
                <a:lnTo>
                  <a:pt x="158" y="122"/>
                </a:lnTo>
                <a:lnTo>
                  <a:pt x="157" y="113"/>
                </a:lnTo>
                <a:lnTo>
                  <a:pt x="151" y="106"/>
                </a:lnTo>
                <a:lnTo>
                  <a:pt x="136" y="100"/>
                </a:lnTo>
                <a:lnTo>
                  <a:pt x="114" y="100"/>
                </a:lnTo>
                <a:lnTo>
                  <a:pt x="107" y="109"/>
                </a:lnTo>
                <a:lnTo>
                  <a:pt x="95" y="122"/>
                </a:lnTo>
                <a:lnTo>
                  <a:pt x="105" y="131"/>
                </a:lnTo>
                <a:lnTo>
                  <a:pt x="105" y="148"/>
                </a:lnTo>
                <a:lnTo>
                  <a:pt x="103" y="157"/>
                </a:lnTo>
                <a:lnTo>
                  <a:pt x="99" y="165"/>
                </a:lnTo>
                <a:lnTo>
                  <a:pt x="86" y="174"/>
                </a:lnTo>
                <a:lnTo>
                  <a:pt x="82" y="176"/>
                </a:lnTo>
                <a:lnTo>
                  <a:pt x="84" y="189"/>
                </a:lnTo>
                <a:lnTo>
                  <a:pt x="90" y="198"/>
                </a:lnTo>
                <a:lnTo>
                  <a:pt x="86" y="209"/>
                </a:lnTo>
                <a:lnTo>
                  <a:pt x="77" y="222"/>
                </a:lnTo>
                <a:lnTo>
                  <a:pt x="66" y="235"/>
                </a:lnTo>
                <a:lnTo>
                  <a:pt x="58" y="244"/>
                </a:lnTo>
                <a:lnTo>
                  <a:pt x="45" y="254"/>
                </a:lnTo>
                <a:lnTo>
                  <a:pt x="35" y="257"/>
                </a:lnTo>
                <a:lnTo>
                  <a:pt x="28" y="272"/>
                </a:lnTo>
                <a:lnTo>
                  <a:pt x="26" y="294"/>
                </a:lnTo>
                <a:lnTo>
                  <a:pt x="19" y="307"/>
                </a:lnTo>
                <a:lnTo>
                  <a:pt x="19" y="326"/>
                </a:lnTo>
                <a:lnTo>
                  <a:pt x="11" y="335"/>
                </a:lnTo>
                <a:lnTo>
                  <a:pt x="9" y="341"/>
                </a:lnTo>
                <a:lnTo>
                  <a:pt x="15" y="350"/>
                </a:lnTo>
                <a:lnTo>
                  <a:pt x="19" y="365"/>
                </a:lnTo>
                <a:lnTo>
                  <a:pt x="28" y="378"/>
                </a:lnTo>
                <a:lnTo>
                  <a:pt x="2" y="400"/>
                </a:lnTo>
                <a:lnTo>
                  <a:pt x="7" y="413"/>
                </a:lnTo>
                <a:lnTo>
                  <a:pt x="17" y="422"/>
                </a:lnTo>
                <a:lnTo>
                  <a:pt x="19" y="424"/>
                </a:lnTo>
                <a:lnTo>
                  <a:pt x="19" y="433"/>
                </a:lnTo>
                <a:lnTo>
                  <a:pt x="6" y="442"/>
                </a:lnTo>
                <a:lnTo>
                  <a:pt x="0" y="455"/>
                </a:lnTo>
                <a:lnTo>
                  <a:pt x="6" y="472"/>
                </a:lnTo>
                <a:lnTo>
                  <a:pt x="13" y="483"/>
                </a:lnTo>
                <a:lnTo>
                  <a:pt x="28" y="489"/>
                </a:lnTo>
                <a:lnTo>
                  <a:pt x="47" y="492"/>
                </a:lnTo>
                <a:lnTo>
                  <a:pt x="66" y="494"/>
                </a:lnTo>
                <a:lnTo>
                  <a:pt x="81" y="496"/>
                </a:lnTo>
                <a:lnTo>
                  <a:pt x="92" y="504"/>
                </a:lnTo>
                <a:lnTo>
                  <a:pt x="103" y="513"/>
                </a:lnTo>
                <a:lnTo>
                  <a:pt x="90" y="520"/>
                </a:lnTo>
                <a:lnTo>
                  <a:pt x="79" y="531"/>
                </a:lnTo>
                <a:lnTo>
                  <a:pt x="68" y="541"/>
                </a:lnTo>
                <a:lnTo>
                  <a:pt x="66" y="553"/>
                </a:lnTo>
                <a:lnTo>
                  <a:pt x="60" y="580"/>
                </a:lnTo>
                <a:lnTo>
                  <a:pt x="51" y="597"/>
                </a:lnTo>
                <a:lnTo>
                  <a:pt x="45" y="608"/>
                </a:lnTo>
                <a:lnTo>
                  <a:pt x="60" y="628"/>
                </a:lnTo>
                <a:lnTo>
                  <a:pt x="64" y="634"/>
                </a:lnTo>
                <a:lnTo>
                  <a:pt x="73" y="641"/>
                </a:lnTo>
                <a:lnTo>
                  <a:pt x="82" y="640"/>
                </a:lnTo>
                <a:lnTo>
                  <a:pt x="94" y="634"/>
                </a:lnTo>
                <a:lnTo>
                  <a:pt x="99" y="628"/>
                </a:lnTo>
                <a:lnTo>
                  <a:pt x="101" y="625"/>
                </a:lnTo>
                <a:lnTo>
                  <a:pt x="118" y="628"/>
                </a:lnTo>
                <a:lnTo>
                  <a:pt x="125" y="638"/>
                </a:lnTo>
                <a:lnTo>
                  <a:pt x="131" y="649"/>
                </a:lnTo>
                <a:lnTo>
                  <a:pt x="138" y="658"/>
                </a:lnTo>
                <a:lnTo>
                  <a:pt x="149" y="660"/>
                </a:lnTo>
                <a:lnTo>
                  <a:pt x="171" y="658"/>
                </a:lnTo>
                <a:lnTo>
                  <a:pt x="182" y="656"/>
                </a:lnTo>
                <a:lnTo>
                  <a:pt x="197" y="667"/>
                </a:lnTo>
                <a:lnTo>
                  <a:pt x="208" y="662"/>
                </a:lnTo>
                <a:lnTo>
                  <a:pt x="219" y="665"/>
                </a:lnTo>
                <a:lnTo>
                  <a:pt x="229" y="673"/>
                </a:lnTo>
                <a:lnTo>
                  <a:pt x="247" y="665"/>
                </a:lnTo>
                <a:lnTo>
                  <a:pt x="264" y="665"/>
                </a:lnTo>
                <a:lnTo>
                  <a:pt x="277" y="673"/>
                </a:lnTo>
                <a:lnTo>
                  <a:pt x="286" y="677"/>
                </a:lnTo>
                <a:lnTo>
                  <a:pt x="297" y="669"/>
                </a:lnTo>
                <a:lnTo>
                  <a:pt x="308" y="669"/>
                </a:lnTo>
                <a:lnTo>
                  <a:pt x="327" y="665"/>
                </a:lnTo>
                <a:lnTo>
                  <a:pt x="340" y="673"/>
                </a:lnTo>
                <a:lnTo>
                  <a:pt x="342" y="669"/>
                </a:lnTo>
                <a:lnTo>
                  <a:pt x="356" y="678"/>
                </a:lnTo>
                <a:lnTo>
                  <a:pt x="368" y="684"/>
                </a:lnTo>
                <a:lnTo>
                  <a:pt x="382" y="678"/>
                </a:lnTo>
                <a:lnTo>
                  <a:pt x="384" y="669"/>
                </a:lnTo>
                <a:lnTo>
                  <a:pt x="375" y="656"/>
                </a:lnTo>
                <a:lnTo>
                  <a:pt x="373" y="649"/>
                </a:lnTo>
                <a:lnTo>
                  <a:pt x="368" y="627"/>
                </a:lnTo>
                <a:lnTo>
                  <a:pt x="419" y="593"/>
                </a:lnTo>
                <a:lnTo>
                  <a:pt x="432" y="593"/>
                </a:lnTo>
                <a:lnTo>
                  <a:pt x="434" y="588"/>
                </a:lnTo>
                <a:lnTo>
                  <a:pt x="416" y="581"/>
                </a:lnTo>
                <a:lnTo>
                  <a:pt x="403" y="567"/>
                </a:lnTo>
                <a:lnTo>
                  <a:pt x="370" y="538"/>
                </a:lnTo>
                <a:lnTo>
                  <a:pt x="366" y="515"/>
                </a:lnTo>
                <a:lnTo>
                  <a:pt x="347" y="511"/>
                </a:lnTo>
                <a:lnTo>
                  <a:pt x="345" y="489"/>
                </a:lnTo>
                <a:lnTo>
                  <a:pt x="341" y="470"/>
                </a:lnTo>
                <a:lnTo>
                  <a:pt x="333" y="461"/>
                </a:lnTo>
                <a:lnTo>
                  <a:pt x="338" y="452"/>
                </a:lnTo>
                <a:lnTo>
                  <a:pt x="342" y="448"/>
                </a:lnTo>
                <a:lnTo>
                  <a:pt x="352" y="449"/>
                </a:lnTo>
                <a:lnTo>
                  <a:pt x="383" y="440"/>
                </a:lnTo>
                <a:lnTo>
                  <a:pt x="449" y="406"/>
                </a:lnTo>
                <a:lnTo>
                  <a:pt x="463" y="400"/>
                </a:lnTo>
                <a:lnTo>
                  <a:pt x="477" y="391"/>
                </a:lnTo>
                <a:lnTo>
                  <a:pt x="488" y="403"/>
                </a:lnTo>
                <a:lnTo>
                  <a:pt x="503" y="397"/>
                </a:lnTo>
                <a:lnTo>
                  <a:pt x="507" y="382"/>
                </a:lnTo>
                <a:lnTo>
                  <a:pt x="506" y="373"/>
                </a:lnTo>
                <a:lnTo>
                  <a:pt x="512" y="363"/>
                </a:lnTo>
                <a:lnTo>
                  <a:pt x="504" y="351"/>
                </a:lnTo>
                <a:lnTo>
                  <a:pt x="495" y="330"/>
                </a:lnTo>
                <a:lnTo>
                  <a:pt x="501" y="300"/>
                </a:lnTo>
                <a:lnTo>
                  <a:pt x="491" y="285"/>
                </a:lnTo>
                <a:lnTo>
                  <a:pt x="487" y="270"/>
                </a:lnTo>
                <a:lnTo>
                  <a:pt x="492" y="256"/>
                </a:lnTo>
                <a:lnTo>
                  <a:pt x="489" y="244"/>
                </a:lnTo>
                <a:lnTo>
                  <a:pt x="468" y="221"/>
                </a:lnTo>
                <a:lnTo>
                  <a:pt x="479" y="207"/>
                </a:lnTo>
                <a:lnTo>
                  <a:pt x="479" y="183"/>
                </a:lnTo>
                <a:lnTo>
                  <a:pt x="481" y="155"/>
                </a:lnTo>
                <a:lnTo>
                  <a:pt x="458" y="130"/>
                </a:lnTo>
                <a:lnTo>
                  <a:pt x="447" y="115"/>
                </a:lnTo>
                <a:lnTo>
                  <a:pt x="434" y="102"/>
                </a:lnTo>
                <a:lnTo>
                  <a:pt x="414" y="85"/>
                </a:lnTo>
                <a:lnTo>
                  <a:pt x="401" y="76"/>
                </a:lnTo>
                <a:lnTo>
                  <a:pt x="392" y="74"/>
                </a:lnTo>
                <a:lnTo>
                  <a:pt x="379" y="83"/>
                </a:lnTo>
                <a:lnTo>
                  <a:pt x="369" y="89"/>
                </a:lnTo>
                <a:lnTo>
                  <a:pt x="340" y="111"/>
                </a:lnTo>
                <a:lnTo>
                  <a:pt x="319" y="106"/>
                </a:lnTo>
                <a:lnTo>
                  <a:pt x="310" y="106"/>
                </a:lnTo>
                <a:lnTo>
                  <a:pt x="310" y="98"/>
                </a:lnTo>
                <a:lnTo>
                  <a:pt x="314" y="87"/>
                </a:lnTo>
                <a:lnTo>
                  <a:pt x="319" y="78"/>
                </a:lnTo>
                <a:lnTo>
                  <a:pt x="292" y="61"/>
                </a:lnTo>
                <a:lnTo>
                  <a:pt x="284" y="59"/>
                </a:lnTo>
                <a:lnTo>
                  <a:pt x="271" y="48"/>
                </a:lnTo>
                <a:lnTo>
                  <a:pt x="266" y="28"/>
                </a:lnTo>
                <a:lnTo>
                  <a:pt x="260" y="15"/>
                </a:lnTo>
                <a:lnTo>
                  <a:pt x="251" y="17"/>
                </a:lnTo>
                <a:lnTo>
                  <a:pt x="240" y="4"/>
                </a:lnTo>
                <a:lnTo>
                  <a:pt x="225" y="2"/>
                </a:lnTo>
                <a:lnTo>
                  <a:pt x="212" y="0"/>
                </a:lnTo>
                <a:close/>
              </a:path>
            </a:pathLst>
          </a:custGeom>
          <a:solidFill>
            <a:srgbClr val="008000"/>
          </a:solidFill>
          <a:ln w="9525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CA"/>
          </a:p>
        </p:txBody>
      </p:sp>
      <p:sp>
        <p:nvSpPr>
          <p:cNvPr id="133" name="Freeform 32"/>
          <p:cNvSpPr>
            <a:spLocks noChangeAspect="1"/>
          </p:cNvSpPr>
          <p:nvPr/>
        </p:nvSpPr>
        <p:spPr bwMode="auto">
          <a:xfrm>
            <a:off x="2892276" y="3603972"/>
            <a:ext cx="758825" cy="669925"/>
          </a:xfrm>
          <a:custGeom>
            <a:avLst/>
            <a:gdLst>
              <a:gd name="T0" fmla="*/ 11017 w 551"/>
              <a:gd name="T1" fmla="*/ 120276 h 518"/>
              <a:gd name="T2" fmla="*/ 0 w 551"/>
              <a:gd name="T3" fmla="*/ 151315 h 518"/>
              <a:gd name="T4" fmla="*/ 24789 w 551"/>
              <a:gd name="T5" fmla="*/ 182354 h 518"/>
              <a:gd name="T6" fmla="*/ 19280 w 551"/>
              <a:gd name="T7" fmla="*/ 209513 h 518"/>
              <a:gd name="T8" fmla="*/ 30298 w 551"/>
              <a:gd name="T9" fmla="*/ 230206 h 518"/>
              <a:gd name="T10" fmla="*/ 37184 w 551"/>
              <a:gd name="T11" fmla="*/ 274178 h 518"/>
              <a:gd name="T12" fmla="*/ 39938 w 551"/>
              <a:gd name="T13" fmla="*/ 290991 h 518"/>
              <a:gd name="T14" fmla="*/ 33052 w 551"/>
              <a:gd name="T15" fmla="*/ 306510 h 518"/>
              <a:gd name="T16" fmla="*/ 48201 w 551"/>
              <a:gd name="T17" fmla="*/ 315563 h 518"/>
              <a:gd name="T18" fmla="*/ 63350 w 551"/>
              <a:gd name="T19" fmla="*/ 325909 h 518"/>
              <a:gd name="T20" fmla="*/ 78499 w 551"/>
              <a:gd name="T21" fmla="*/ 351775 h 518"/>
              <a:gd name="T22" fmla="*/ 95025 w 551"/>
              <a:gd name="T23" fmla="*/ 368588 h 518"/>
              <a:gd name="T24" fmla="*/ 128078 w 551"/>
              <a:gd name="T25" fmla="*/ 376348 h 518"/>
              <a:gd name="T26" fmla="*/ 150112 w 551"/>
              <a:gd name="T27" fmla="*/ 375055 h 518"/>
              <a:gd name="T28" fmla="*/ 181787 w 551"/>
              <a:gd name="T29" fmla="*/ 403507 h 518"/>
              <a:gd name="T30" fmla="*/ 218971 w 551"/>
              <a:gd name="T31" fmla="*/ 417733 h 518"/>
              <a:gd name="T32" fmla="*/ 247892 w 551"/>
              <a:gd name="T33" fmla="*/ 413853 h 518"/>
              <a:gd name="T34" fmla="*/ 278190 w 551"/>
              <a:gd name="T35" fmla="*/ 430666 h 518"/>
              <a:gd name="T36" fmla="*/ 293339 w 551"/>
              <a:gd name="T37" fmla="*/ 433253 h 518"/>
              <a:gd name="T38" fmla="*/ 316751 w 551"/>
              <a:gd name="T39" fmla="*/ 441012 h 518"/>
              <a:gd name="T40" fmla="*/ 341540 w 551"/>
              <a:gd name="T41" fmla="*/ 460412 h 518"/>
              <a:gd name="T42" fmla="*/ 363575 w 551"/>
              <a:gd name="T43" fmla="*/ 462998 h 518"/>
              <a:gd name="T44" fmla="*/ 380101 w 551"/>
              <a:gd name="T45" fmla="*/ 451359 h 518"/>
              <a:gd name="T46" fmla="*/ 484767 w 551"/>
              <a:gd name="T47" fmla="*/ 478518 h 518"/>
              <a:gd name="T48" fmla="*/ 487521 w 551"/>
              <a:gd name="T49" fmla="*/ 451359 h 518"/>
              <a:gd name="T50" fmla="*/ 538476 w 551"/>
              <a:gd name="T51" fmla="*/ 376348 h 518"/>
              <a:gd name="T52" fmla="*/ 552248 w 551"/>
              <a:gd name="T53" fmla="*/ 345309 h 518"/>
              <a:gd name="T54" fmla="*/ 534345 w 551"/>
              <a:gd name="T55" fmla="*/ 300044 h 518"/>
              <a:gd name="T56" fmla="*/ 508179 w 551"/>
              <a:gd name="T57" fmla="*/ 266418 h 518"/>
              <a:gd name="T58" fmla="*/ 508179 w 551"/>
              <a:gd name="T59" fmla="*/ 234086 h 518"/>
              <a:gd name="T60" fmla="*/ 505424 w 551"/>
              <a:gd name="T61" fmla="*/ 209513 h 518"/>
              <a:gd name="T62" fmla="*/ 505424 w 551"/>
              <a:gd name="T63" fmla="*/ 191407 h 518"/>
              <a:gd name="T64" fmla="*/ 526082 w 551"/>
              <a:gd name="T65" fmla="*/ 168128 h 518"/>
              <a:gd name="T66" fmla="*/ 516442 w 551"/>
              <a:gd name="T67" fmla="*/ 117690 h 518"/>
              <a:gd name="T68" fmla="*/ 509556 w 551"/>
              <a:gd name="T69" fmla="*/ 82771 h 518"/>
              <a:gd name="T70" fmla="*/ 484767 w 551"/>
              <a:gd name="T71" fmla="*/ 54318 h 518"/>
              <a:gd name="T72" fmla="*/ 418662 w 551"/>
              <a:gd name="T73" fmla="*/ 51732 h 518"/>
              <a:gd name="T74" fmla="*/ 345672 w 551"/>
              <a:gd name="T75" fmla="*/ 46558 h 518"/>
              <a:gd name="T76" fmla="*/ 307111 w 551"/>
              <a:gd name="T77" fmla="*/ 36212 h 518"/>
              <a:gd name="T78" fmla="*/ 282321 w 551"/>
              <a:gd name="T79" fmla="*/ 47852 h 518"/>
              <a:gd name="T80" fmla="*/ 258909 w 551"/>
              <a:gd name="T81" fmla="*/ 33626 h 518"/>
              <a:gd name="T82" fmla="*/ 241006 w 551"/>
              <a:gd name="T83" fmla="*/ 29746 h 518"/>
              <a:gd name="T84" fmla="*/ 218971 w 551"/>
              <a:gd name="T85" fmla="*/ 2587 h 518"/>
              <a:gd name="T86" fmla="*/ 184542 w 551"/>
              <a:gd name="T87" fmla="*/ 5173 h 518"/>
              <a:gd name="T88" fmla="*/ 151490 w 551"/>
              <a:gd name="T89" fmla="*/ 18106 h 518"/>
              <a:gd name="T90" fmla="*/ 99157 w 551"/>
              <a:gd name="T91" fmla="*/ 38799 h 518"/>
              <a:gd name="T92" fmla="*/ 52333 w 551"/>
              <a:gd name="T93" fmla="*/ 58198 h 518"/>
              <a:gd name="T94" fmla="*/ 24789 w 551"/>
              <a:gd name="T95" fmla="*/ 82771 h 5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51"/>
              <a:gd name="T145" fmla="*/ 0 h 518"/>
              <a:gd name="T146" fmla="*/ 551 w 551"/>
              <a:gd name="T147" fmla="*/ 518 h 5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4" name="Freeform 33"/>
          <p:cNvSpPr>
            <a:spLocks noChangeAspect="1"/>
          </p:cNvSpPr>
          <p:nvPr/>
        </p:nvSpPr>
        <p:spPr bwMode="auto">
          <a:xfrm>
            <a:off x="3401864" y="3434110"/>
            <a:ext cx="396875" cy="292100"/>
          </a:xfrm>
          <a:custGeom>
            <a:avLst/>
            <a:gdLst>
              <a:gd name="T0" fmla="*/ 2756 w 288"/>
              <a:gd name="T1" fmla="*/ 23368 h 225"/>
              <a:gd name="T2" fmla="*/ 0 w 288"/>
              <a:gd name="T3" fmla="*/ 28561 h 225"/>
              <a:gd name="T4" fmla="*/ 5512 w 288"/>
              <a:gd name="T5" fmla="*/ 54525 h 225"/>
              <a:gd name="T6" fmla="*/ 16536 w 288"/>
              <a:gd name="T7" fmla="*/ 90876 h 225"/>
              <a:gd name="T8" fmla="*/ 27561 w 288"/>
              <a:gd name="T9" fmla="*/ 101261 h 225"/>
              <a:gd name="T10" fmla="*/ 55122 w 288"/>
              <a:gd name="T11" fmla="*/ 110349 h 225"/>
              <a:gd name="T12" fmla="*/ 64768 w 288"/>
              <a:gd name="T13" fmla="*/ 114244 h 225"/>
              <a:gd name="T14" fmla="*/ 67524 w 288"/>
              <a:gd name="T15" fmla="*/ 125928 h 225"/>
              <a:gd name="T16" fmla="*/ 67524 w 288"/>
              <a:gd name="T17" fmla="*/ 146699 h 225"/>
              <a:gd name="T18" fmla="*/ 93707 w 288"/>
              <a:gd name="T19" fmla="*/ 170067 h 225"/>
              <a:gd name="T20" fmla="*/ 108865 w 288"/>
              <a:gd name="T21" fmla="*/ 179155 h 225"/>
              <a:gd name="T22" fmla="*/ 117133 w 288"/>
              <a:gd name="T23" fmla="*/ 181751 h 225"/>
              <a:gd name="T24" fmla="*/ 139182 w 288"/>
              <a:gd name="T25" fmla="*/ 207716 h 225"/>
              <a:gd name="T26" fmla="*/ 146072 w 288"/>
              <a:gd name="T27" fmla="*/ 202523 h 225"/>
              <a:gd name="T28" fmla="*/ 161230 w 288"/>
              <a:gd name="T29" fmla="*/ 199926 h 225"/>
              <a:gd name="T30" fmla="*/ 179145 w 288"/>
              <a:gd name="T31" fmla="*/ 210312 h 225"/>
              <a:gd name="T32" fmla="*/ 191547 w 288"/>
              <a:gd name="T33" fmla="*/ 205119 h 225"/>
              <a:gd name="T34" fmla="*/ 209462 w 288"/>
              <a:gd name="T35" fmla="*/ 185646 h 225"/>
              <a:gd name="T36" fmla="*/ 223242 w 288"/>
              <a:gd name="T37" fmla="*/ 179155 h 225"/>
              <a:gd name="T38" fmla="*/ 237023 w 288"/>
              <a:gd name="T39" fmla="*/ 183049 h 225"/>
              <a:gd name="T40" fmla="*/ 243913 w 288"/>
              <a:gd name="T41" fmla="*/ 179155 h 225"/>
              <a:gd name="T42" fmla="*/ 245291 w 288"/>
              <a:gd name="T43" fmla="*/ 172664 h 225"/>
              <a:gd name="T44" fmla="*/ 248047 w 288"/>
              <a:gd name="T45" fmla="*/ 132419 h 225"/>
              <a:gd name="T46" fmla="*/ 254937 w 288"/>
              <a:gd name="T47" fmla="*/ 120735 h 225"/>
              <a:gd name="T48" fmla="*/ 254937 w 288"/>
              <a:gd name="T49" fmla="*/ 103858 h 225"/>
              <a:gd name="T50" fmla="*/ 259071 w 288"/>
              <a:gd name="T51" fmla="*/ 97367 h 225"/>
              <a:gd name="T52" fmla="*/ 274230 w 288"/>
              <a:gd name="T53" fmla="*/ 86981 h 225"/>
              <a:gd name="T54" fmla="*/ 289388 w 288"/>
              <a:gd name="T55" fmla="*/ 85683 h 225"/>
              <a:gd name="T56" fmla="*/ 289388 w 288"/>
              <a:gd name="T57" fmla="*/ 64911 h 225"/>
              <a:gd name="T58" fmla="*/ 283876 w 288"/>
              <a:gd name="T59" fmla="*/ 50631 h 225"/>
              <a:gd name="T60" fmla="*/ 274230 w 288"/>
              <a:gd name="T61" fmla="*/ 44140 h 225"/>
              <a:gd name="T62" fmla="*/ 268717 w 288"/>
              <a:gd name="T63" fmla="*/ 46736 h 225"/>
              <a:gd name="T64" fmla="*/ 249425 w 288"/>
              <a:gd name="T65" fmla="*/ 28561 h 225"/>
              <a:gd name="T66" fmla="*/ 238401 w 288"/>
              <a:gd name="T67" fmla="*/ 16877 h 225"/>
              <a:gd name="T68" fmla="*/ 224620 w 288"/>
              <a:gd name="T69" fmla="*/ 16877 h 225"/>
              <a:gd name="T70" fmla="*/ 198438 w 288"/>
              <a:gd name="T71" fmla="*/ 16877 h 225"/>
              <a:gd name="T72" fmla="*/ 192925 w 288"/>
              <a:gd name="T73" fmla="*/ 14280 h 225"/>
              <a:gd name="T74" fmla="*/ 187413 w 288"/>
              <a:gd name="T75" fmla="*/ 2596 h 225"/>
              <a:gd name="T76" fmla="*/ 180523 w 288"/>
              <a:gd name="T77" fmla="*/ 0 h 225"/>
              <a:gd name="T78" fmla="*/ 157096 w 288"/>
              <a:gd name="T79" fmla="*/ 0 h 225"/>
              <a:gd name="T80" fmla="*/ 148828 w 288"/>
              <a:gd name="T81" fmla="*/ 10386 h 225"/>
              <a:gd name="T82" fmla="*/ 139182 w 288"/>
              <a:gd name="T83" fmla="*/ 7789 h 225"/>
              <a:gd name="T84" fmla="*/ 125401 w 288"/>
              <a:gd name="T85" fmla="*/ 5193 h 225"/>
              <a:gd name="T86" fmla="*/ 117133 w 288"/>
              <a:gd name="T87" fmla="*/ 5193 h 225"/>
              <a:gd name="T88" fmla="*/ 104731 w 288"/>
              <a:gd name="T89" fmla="*/ 5193 h 225"/>
              <a:gd name="T90" fmla="*/ 97841 w 288"/>
              <a:gd name="T91" fmla="*/ 12982 h 225"/>
              <a:gd name="T92" fmla="*/ 82682 w 288"/>
              <a:gd name="T93" fmla="*/ 5193 h 225"/>
              <a:gd name="T94" fmla="*/ 52365 w 288"/>
              <a:gd name="T95" fmla="*/ 2596 h 225"/>
              <a:gd name="T96" fmla="*/ 44097 w 288"/>
              <a:gd name="T97" fmla="*/ 0 h 225"/>
              <a:gd name="T98" fmla="*/ 34451 w 288"/>
              <a:gd name="T99" fmla="*/ 5193 h 225"/>
              <a:gd name="T100" fmla="*/ 19293 w 288"/>
              <a:gd name="T101" fmla="*/ 15579 h 225"/>
              <a:gd name="T102" fmla="*/ 2756 w 288"/>
              <a:gd name="T103" fmla="*/ 23368 h 22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88"/>
              <a:gd name="T157" fmla="*/ 0 h 225"/>
              <a:gd name="T158" fmla="*/ 288 w 288"/>
              <a:gd name="T159" fmla="*/ 225 h 22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88" h="225">
                <a:moveTo>
                  <a:pt x="2" y="24"/>
                </a:moveTo>
                <a:lnTo>
                  <a:pt x="0" y="31"/>
                </a:lnTo>
                <a:lnTo>
                  <a:pt x="4" y="58"/>
                </a:lnTo>
                <a:lnTo>
                  <a:pt x="17" y="97"/>
                </a:lnTo>
                <a:lnTo>
                  <a:pt x="28" y="108"/>
                </a:lnTo>
                <a:lnTo>
                  <a:pt x="54" y="118"/>
                </a:lnTo>
                <a:lnTo>
                  <a:pt x="65" y="121"/>
                </a:lnTo>
                <a:lnTo>
                  <a:pt x="67" y="134"/>
                </a:lnTo>
                <a:lnTo>
                  <a:pt x="67" y="156"/>
                </a:lnTo>
                <a:lnTo>
                  <a:pt x="93" y="182"/>
                </a:lnTo>
                <a:lnTo>
                  <a:pt x="109" y="190"/>
                </a:lnTo>
                <a:lnTo>
                  <a:pt x="117" y="194"/>
                </a:lnTo>
                <a:lnTo>
                  <a:pt x="139" y="221"/>
                </a:lnTo>
                <a:lnTo>
                  <a:pt x="146" y="216"/>
                </a:lnTo>
                <a:lnTo>
                  <a:pt x="161" y="214"/>
                </a:lnTo>
                <a:lnTo>
                  <a:pt x="178" y="225"/>
                </a:lnTo>
                <a:lnTo>
                  <a:pt x="191" y="218"/>
                </a:lnTo>
                <a:lnTo>
                  <a:pt x="209" y="197"/>
                </a:lnTo>
                <a:lnTo>
                  <a:pt x="222" y="190"/>
                </a:lnTo>
                <a:lnTo>
                  <a:pt x="236" y="195"/>
                </a:lnTo>
                <a:lnTo>
                  <a:pt x="244" y="192"/>
                </a:lnTo>
                <a:lnTo>
                  <a:pt x="245" y="184"/>
                </a:lnTo>
                <a:lnTo>
                  <a:pt x="247" y="142"/>
                </a:lnTo>
                <a:lnTo>
                  <a:pt x="255" y="129"/>
                </a:lnTo>
                <a:lnTo>
                  <a:pt x="255" y="110"/>
                </a:lnTo>
                <a:lnTo>
                  <a:pt x="258" y="103"/>
                </a:lnTo>
                <a:lnTo>
                  <a:pt x="273" y="92"/>
                </a:lnTo>
                <a:lnTo>
                  <a:pt x="288" y="90"/>
                </a:lnTo>
                <a:lnTo>
                  <a:pt x="288" y="69"/>
                </a:lnTo>
                <a:lnTo>
                  <a:pt x="284" y="53"/>
                </a:lnTo>
                <a:lnTo>
                  <a:pt x="273" y="47"/>
                </a:lnTo>
                <a:lnTo>
                  <a:pt x="268" y="49"/>
                </a:lnTo>
                <a:lnTo>
                  <a:pt x="249" y="31"/>
                </a:lnTo>
                <a:lnTo>
                  <a:pt x="238" y="19"/>
                </a:lnTo>
                <a:lnTo>
                  <a:pt x="224" y="19"/>
                </a:lnTo>
                <a:lnTo>
                  <a:pt x="198" y="19"/>
                </a:lnTo>
                <a:lnTo>
                  <a:pt x="193" y="15"/>
                </a:lnTo>
                <a:lnTo>
                  <a:pt x="187" y="2"/>
                </a:lnTo>
                <a:lnTo>
                  <a:pt x="180" y="0"/>
                </a:lnTo>
                <a:lnTo>
                  <a:pt x="157" y="0"/>
                </a:lnTo>
                <a:lnTo>
                  <a:pt x="148" y="11"/>
                </a:lnTo>
                <a:lnTo>
                  <a:pt x="139" y="9"/>
                </a:lnTo>
                <a:lnTo>
                  <a:pt x="124" y="6"/>
                </a:lnTo>
                <a:lnTo>
                  <a:pt x="117" y="4"/>
                </a:lnTo>
                <a:lnTo>
                  <a:pt x="106" y="7"/>
                </a:lnTo>
                <a:lnTo>
                  <a:pt x="98" y="13"/>
                </a:lnTo>
                <a:lnTo>
                  <a:pt x="83" y="7"/>
                </a:lnTo>
                <a:lnTo>
                  <a:pt x="52" y="2"/>
                </a:lnTo>
                <a:lnTo>
                  <a:pt x="44" y="0"/>
                </a:lnTo>
                <a:lnTo>
                  <a:pt x="35" y="7"/>
                </a:lnTo>
                <a:lnTo>
                  <a:pt x="20" y="17"/>
                </a:lnTo>
                <a:lnTo>
                  <a:pt x="2" y="24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5" name="Freeform 34"/>
          <p:cNvSpPr>
            <a:spLocks noChangeAspect="1"/>
          </p:cNvSpPr>
          <p:nvPr/>
        </p:nvSpPr>
        <p:spPr bwMode="auto">
          <a:xfrm>
            <a:off x="3449489" y="3122960"/>
            <a:ext cx="61912" cy="47625"/>
          </a:xfrm>
          <a:custGeom>
            <a:avLst/>
            <a:gdLst>
              <a:gd name="T0" fmla="*/ 28142 w 44"/>
              <a:gd name="T1" fmla="*/ 0 h 37"/>
              <a:gd name="T2" fmla="*/ 7035 w 44"/>
              <a:gd name="T3" fmla="*/ 12872 h 37"/>
              <a:gd name="T4" fmla="*/ 0 w 44"/>
              <a:gd name="T5" fmla="*/ 18020 h 37"/>
              <a:gd name="T6" fmla="*/ 14071 w 44"/>
              <a:gd name="T7" fmla="*/ 21882 h 37"/>
              <a:gd name="T8" fmla="*/ 25328 w 44"/>
              <a:gd name="T9" fmla="*/ 33466 h 37"/>
              <a:gd name="T10" fmla="*/ 35177 w 44"/>
              <a:gd name="T11" fmla="*/ 25743 h 37"/>
              <a:gd name="T12" fmla="*/ 46434 w 44"/>
              <a:gd name="T13" fmla="*/ 18020 h 37"/>
              <a:gd name="T14" fmla="*/ 36584 w 44"/>
              <a:gd name="T15" fmla="*/ 10297 h 37"/>
              <a:gd name="T16" fmla="*/ 28142 w 44"/>
              <a:gd name="T17" fmla="*/ 0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37"/>
              <a:gd name="T29" fmla="*/ 44 w 44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37">
                <a:moveTo>
                  <a:pt x="26" y="0"/>
                </a:moveTo>
                <a:lnTo>
                  <a:pt x="6" y="13"/>
                </a:lnTo>
                <a:lnTo>
                  <a:pt x="0" y="20"/>
                </a:lnTo>
                <a:lnTo>
                  <a:pt x="13" y="24"/>
                </a:lnTo>
                <a:lnTo>
                  <a:pt x="24" y="37"/>
                </a:lnTo>
                <a:lnTo>
                  <a:pt x="33" y="28"/>
                </a:lnTo>
                <a:lnTo>
                  <a:pt x="44" y="20"/>
                </a:lnTo>
                <a:lnTo>
                  <a:pt x="35" y="11"/>
                </a:lnTo>
                <a:lnTo>
                  <a:pt x="26" y="0"/>
                </a:lnTo>
                <a:close/>
              </a:path>
            </a:pathLst>
          </a:custGeom>
          <a:solidFill>
            <a:schemeClr val="bg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6" name="Freeform 35"/>
          <p:cNvSpPr>
            <a:spLocks noChangeAspect="1"/>
          </p:cNvSpPr>
          <p:nvPr/>
        </p:nvSpPr>
        <p:spPr bwMode="auto">
          <a:xfrm>
            <a:off x="3432026" y="3178522"/>
            <a:ext cx="88900" cy="85725"/>
          </a:xfrm>
          <a:custGeom>
            <a:avLst/>
            <a:gdLst>
              <a:gd name="T0" fmla="*/ 51972 w 65"/>
              <a:gd name="T1" fmla="*/ 0 h 67"/>
              <a:gd name="T2" fmla="*/ 31457 w 65"/>
              <a:gd name="T3" fmla="*/ 5118 h 67"/>
              <a:gd name="T4" fmla="*/ 23251 w 65"/>
              <a:gd name="T5" fmla="*/ 0 h 67"/>
              <a:gd name="T6" fmla="*/ 10942 w 65"/>
              <a:gd name="T7" fmla="*/ 15354 h 67"/>
              <a:gd name="T8" fmla="*/ 5471 w 65"/>
              <a:gd name="T9" fmla="*/ 12795 h 67"/>
              <a:gd name="T10" fmla="*/ 0 w 65"/>
              <a:gd name="T11" fmla="*/ 21751 h 67"/>
              <a:gd name="T12" fmla="*/ 5471 w 65"/>
              <a:gd name="T13" fmla="*/ 26869 h 67"/>
              <a:gd name="T14" fmla="*/ 5471 w 65"/>
              <a:gd name="T15" fmla="*/ 53738 h 67"/>
              <a:gd name="T16" fmla="*/ 13677 w 65"/>
              <a:gd name="T17" fmla="*/ 61415 h 67"/>
              <a:gd name="T18" fmla="*/ 45134 w 65"/>
              <a:gd name="T19" fmla="*/ 26869 h 67"/>
              <a:gd name="T20" fmla="*/ 57443 w 65"/>
              <a:gd name="T21" fmla="*/ 26869 h 67"/>
              <a:gd name="T22" fmla="*/ 62914 w 65"/>
              <a:gd name="T23" fmla="*/ 17913 h 67"/>
              <a:gd name="T24" fmla="*/ 61546 w 65"/>
              <a:gd name="T25" fmla="*/ 14074 h 67"/>
              <a:gd name="T26" fmla="*/ 51972 w 65"/>
              <a:gd name="T27" fmla="*/ 0 h 6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5"/>
              <a:gd name="T43" fmla="*/ 0 h 67"/>
              <a:gd name="T44" fmla="*/ 65 w 65"/>
              <a:gd name="T45" fmla="*/ 67 h 6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5" h="67">
                <a:moveTo>
                  <a:pt x="54" y="0"/>
                </a:moveTo>
                <a:lnTo>
                  <a:pt x="32" y="4"/>
                </a:lnTo>
                <a:lnTo>
                  <a:pt x="24" y="0"/>
                </a:lnTo>
                <a:lnTo>
                  <a:pt x="11" y="17"/>
                </a:lnTo>
                <a:lnTo>
                  <a:pt x="6" y="13"/>
                </a:lnTo>
                <a:lnTo>
                  <a:pt x="0" y="24"/>
                </a:lnTo>
                <a:lnTo>
                  <a:pt x="7" y="30"/>
                </a:lnTo>
                <a:lnTo>
                  <a:pt x="7" y="58"/>
                </a:lnTo>
                <a:lnTo>
                  <a:pt x="13" y="67"/>
                </a:lnTo>
                <a:lnTo>
                  <a:pt x="46" y="30"/>
                </a:lnTo>
                <a:lnTo>
                  <a:pt x="59" y="30"/>
                </a:lnTo>
                <a:lnTo>
                  <a:pt x="65" y="20"/>
                </a:lnTo>
                <a:lnTo>
                  <a:pt x="63" y="15"/>
                </a:lnTo>
                <a:lnTo>
                  <a:pt x="54" y="0"/>
                </a:lnTo>
                <a:close/>
              </a:path>
            </a:pathLst>
          </a:custGeom>
          <a:solidFill>
            <a:schemeClr val="bg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7" name="Freeform 36"/>
          <p:cNvSpPr>
            <a:spLocks noChangeAspect="1"/>
          </p:cNvSpPr>
          <p:nvPr/>
        </p:nvSpPr>
        <p:spPr bwMode="auto">
          <a:xfrm>
            <a:off x="3535214" y="3040410"/>
            <a:ext cx="295275" cy="247650"/>
          </a:xfrm>
          <a:custGeom>
            <a:avLst/>
            <a:gdLst>
              <a:gd name="T0" fmla="*/ 207379 w 215"/>
              <a:gd name="T1" fmla="*/ 167261 h 191"/>
              <a:gd name="T2" fmla="*/ 204632 w 215"/>
              <a:gd name="T3" fmla="*/ 156888 h 191"/>
              <a:gd name="T4" fmla="*/ 211499 w 215"/>
              <a:gd name="T5" fmla="*/ 147812 h 191"/>
              <a:gd name="T6" fmla="*/ 211499 w 215"/>
              <a:gd name="T7" fmla="*/ 134846 h 191"/>
              <a:gd name="T8" fmla="*/ 197766 w 215"/>
              <a:gd name="T9" fmla="*/ 124473 h 191"/>
              <a:gd name="T10" fmla="*/ 190899 w 215"/>
              <a:gd name="T11" fmla="*/ 119287 h 191"/>
              <a:gd name="T12" fmla="*/ 188152 w 215"/>
              <a:gd name="T13" fmla="*/ 102431 h 191"/>
              <a:gd name="T14" fmla="*/ 178538 w 215"/>
              <a:gd name="T15" fmla="*/ 85575 h 191"/>
              <a:gd name="T16" fmla="*/ 168925 w 215"/>
              <a:gd name="T17" fmla="*/ 73906 h 191"/>
              <a:gd name="T18" fmla="*/ 168925 w 215"/>
              <a:gd name="T19" fmla="*/ 64830 h 191"/>
              <a:gd name="T20" fmla="*/ 174418 w 215"/>
              <a:gd name="T21" fmla="*/ 57050 h 191"/>
              <a:gd name="T22" fmla="*/ 199139 w 215"/>
              <a:gd name="T23" fmla="*/ 58347 h 191"/>
              <a:gd name="T24" fmla="*/ 208753 w 215"/>
              <a:gd name="T25" fmla="*/ 49271 h 191"/>
              <a:gd name="T26" fmla="*/ 212873 w 215"/>
              <a:gd name="T27" fmla="*/ 22042 h 191"/>
              <a:gd name="T28" fmla="*/ 211499 w 215"/>
              <a:gd name="T29" fmla="*/ 14263 h 191"/>
              <a:gd name="T30" fmla="*/ 199139 w 215"/>
              <a:gd name="T31" fmla="*/ 12966 h 191"/>
              <a:gd name="T32" fmla="*/ 179912 w 215"/>
              <a:gd name="T33" fmla="*/ 14263 h 191"/>
              <a:gd name="T34" fmla="*/ 152444 w 215"/>
              <a:gd name="T35" fmla="*/ 14263 h 191"/>
              <a:gd name="T36" fmla="*/ 130470 w 215"/>
              <a:gd name="T37" fmla="*/ 5186 h 191"/>
              <a:gd name="T38" fmla="*/ 115363 w 215"/>
              <a:gd name="T39" fmla="*/ 2593 h 191"/>
              <a:gd name="T40" fmla="*/ 103003 w 215"/>
              <a:gd name="T41" fmla="*/ 0 h 191"/>
              <a:gd name="T42" fmla="*/ 90643 w 215"/>
              <a:gd name="T43" fmla="*/ 15559 h 191"/>
              <a:gd name="T44" fmla="*/ 75535 w 215"/>
              <a:gd name="T45" fmla="*/ 25932 h 191"/>
              <a:gd name="T46" fmla="*/ 53562 w 215"/>
              <a:gd name="T47" fmla="*/ 24635 h 191"/>
              <a:gd name="T48" fmla="*/ 41201 w 215"/>
              <a:gd name="T49" fmla="*/ 32415 h 191"/>
              <a:gd name="T50" fmla="*/ 19227 w 215"/>
              <a:gd name="T51" fmla="*/ 51864 h 191"/>
              <a:gd name="T52" fmla="*/ 5493 w 215"/>
              <a:gd name="T53" fmla="*/ 64830 h 191"/>
              <a:gd name="T54" fmla="*/ 0 w 215"/>
              <a:gd name="T55" fmla="*/ 72609 h 191"/>
              <a:gd name="T56" fmla="*/ 8240 w 215"/>
              <a:gd name="T57" fmla="*/ 88169 h 191"/>
              <a:gd name="T58" fmla="*/ 17854 w 215"/>
              <a:gd name="T59" fmla="*/ 108914 h 191"/>
              <a:gd name="T60" fmla="*/ 30214 w 215"/>
              <a:gd name="T61" fmla="*/ 120584 h 191"/>
              <a:gd name="T62" fmla="*/ 41201 w 215"/>
              <a:gd name="T63" fmla="*/ 116694 h 191"/>
              <a:gd name="T64" fmla="*/ 59055 w 215"/>
              <a:gd name="T65" fmla="*/ 111507 h 191"/>
              <a:gd name="T66" fmla="*/ 57682 w 215"/>
              <a:gd name="T67" fmla="*/ 127066 h 191"/>
              <a:gd name="T68" fmla="*/ 52188 w 215"/>
              <a:gd name="T69" fmla="*/ 147812 h 191"/>
              <a:gd name="T70" fmla="*/ 53562 w 215"/>
              <a:gd name="T71" fmla="*/ 151702 h 191"/>
              <a:gd name="T72" fmla="*/ 63175 w 215"/>
              <a:gd name="T73" fmla="*/ 151702 h 191"/>
              <a:gd name="T74" fmla="*/ 75535 w 215"/>
              <a:gd name="T75" fmla="*/ 147812 h 191"/>
              <a:gd name="T76" fmla="*/ 103003 w 215"/>
              <a:gd name="T77" fmla="*/ 150405 h 191"/>
              <a:gd name="T78" fmla="*/ 112617 w 215"/>
              <a:gd name="T79" fmla="*/ 160778 h 191"/>
              <a:gd name="T80" fmla="*/ 126350 w 215"/>
              <a:gd name="T81" fmla="*/ 164668 h 191"/>
              <a:gd name="T82" fmla="*/ 140084 w 215"/>
              <a:gd name="T83" fmla="*/ 177634 h 191"/>
              <a:gd name="T84" fmla="*/ 151071 w 215"/>
              <a:gd name="T85" fmla="*/ 175041 h 191"/>
              <a:gd name="T86" fmla="*/ 167551 w 215"/>
              <a:gd name="T87" fmla="*/ 167261 h 191"/>
              <a:gd name="T88" fmla="*/ 184032 w 215"/>
              <a:gd name="T89" fmla="*/ 164668 h 191"/>
              <a:gd name="T90" fmla="*/ 207379 w 215"/>
              <a:gd name="T91" fmla="*/ 167261 h 19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15"/>
              <a:gd name="T139" fmla="*/ 0 h 191"/>
              <a:gd name="T140" fmla="*/ 215 w 215"/>
              <a:gd name="T141" fmla="*/ 191 h 19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15" h="191">
                <a:moveTo>
                  <a:pt x="208" y="180"/>
                </a:moveTo>
                <a:lnTo>
                  <a:pt x="206" y="169"/>
                </a:lnTo>
                <a:lnTo>
                  <a:pt x="213" y="159"/>
                </a:lnTo>
                <a:lnTo>
                  <a:pt x="213" y="145"/>
                </a:lnTo>
                <a:lnTo>
                  <a:pt x="198" y="134"/>
                </a:lnTo>
                <a:lnTo>
                  <a:pt x="193" y="128"/>
                </a:lnTo>
                <a:lnTo>
                  <a:pt x="189" y="109"/>
                </a:lnTo>
                <a:lnTo>
                  <a:pt x="180" y="93"/>
                </a:lnTo>
                <a:lnTo>
                  <a:pt x="170" y="80"/>
                </a:lnTo>
                <a:lnTo>
                  <a:pt x="170" y="69"/>
                </a:lnTo>
                <a:lnTo>
                  <a:pt x="176" y="61"/>
                </a:lnTo>
                <a:lnTo>
                  <a:pt x="200" y="63"/>
                </a:lnTo>
                <a:lnTo>
                  <a:pt x="209" y="52"/>
                </a:lnTo>
                <a:lnTo>
                  <a:pt x="215" y="24"/>
                </a:lnTo>
                <a:lnTo>
                  <a:pt x="213" y="15"/>
                </a:lnTo>
                <a:lnTo>
                  <a:pt x="202" y="13"/>
                </a:lnTo>
                <a:lnTo>
                  <a:pt x="182" y="15"/>
                </a:lnTo>
                <a:lnTo>
                  <a:pt x="154" y="15"/>
                </a:lnTo>
                <a:lnTo>
                  <a:pt x="132" y="6"/>
                </a:lnTo>
                <a:lnTo>
                  <a:pt x="117" y="2"/>
                </a:lnTo>
                <a:lnTo>
                  <a:pt x="104" y="0"/>
                </a:lnTo>
                <a:lnTo>
                  <a:pt x="91" y="17"/>
                </a:lnTo>
                <a:lnTo>
                  <a:pt x="76" y="28"/>
                </a:lnTo>
                <a:lnTo>
                  <a:pt x="54" y="26"/>
                </a:lnTo>
                <a:lnTo>
                  <a:pt x="41" y="35"/>
                </a:lnTo>
                <a:lnTo>
                  <a:pt x="20" y="56"/>
                </a:lnTo>
                <a:lnTo>
                  <a:pt x="4" y="69"/>
                </a:lnTo>
                <a:lnTo>
                  <a:pt x="0" y="78"/>
                </a:lnTo>
                <a:lnTo>
                  <a:pt x="9" y="95"/>
                </a:lnTo>
                <a:lnTo>
                  <a:pt x="19" y="117"/>
                </a:lnTo>
                <a:lnTo>
                  <a:pt x="30" y="130"/>
                </a:lnTo>
                <a:lnTo>
                  <a:pt x="41" y="126"/>
                </a:lnTo>
                <a:lnTo>
                  <a:pt x="60" y="119"/>
                </a:lnTo>
                <a:lnTo>
                  <a:pt x="58" y="137"/>
                </a:lnTo>
                <a:lnTo>
                  <a:pt x="52" y="159"/>
                </a:lnTo>
                <a:lnTo>
                  <a:pt x="54" y="163"/>
                </a:lnTo>
                <a:lnTo>
                  <a:pt x="63" y="163"/>
                </a:lnTo>
                <a:lnTo>
                  <a:pt x="76" y="159"/>
                </a:lnTo>
                <a:lnTo>
                  <a:pt x="104" y="162"/>
                </a:lnTo>
                <a:lnTo>
                  <a:pt x="112" y="172"/>
                </a:lnTo>
                <a:lnTo>
                  <a:pt x="128" y="178"/>
                </a:lnTo>
                <a:lnTo>
                  <a:pt x="142" y="191"/>
                </a:lnTo>
                <a:lnTo>
                  <a:pt x="151" y="189"/>
                </a:lnTo>
                <a:lnTo>
                  <a:pt x="168" y="180"/>
                </a:lnTo>
                <a:lnTo>
                  <a:pt x="185" y="178"/>
                </a:lnTo>
                <a:lnTo>
                  <a:pt x="208" y="18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8" name="Freeform 37"/>
          <p:cNvSpPr>
            <a:spLocks noChangeAspect="1"/>
          </p:cNvSpPr>
          <p:nvPr/>
        </p:nvSpPr>
        <p:spPr bwMode="auto">
          <a:xfrm>
            <a:off x="3309789" y="2965797"/>
            <a:ext cx="38100" cy="33338"/>
          </a:xfrm>
          <a:custGeom>
            <a:avLst/>
            <a:gdLst>
              <a:gd name="T0" fmla="*/ 23132 w 28"/>
              <a:gd name="T1" fmla="*/ 0 h 26"/>
              <a:gd name="T2" fmla="*/ 13607 w 28"/>
              <a:gd name="T3" fmla="*/ 5129 h 26"/>
              <a:gd name="T4" fmla="*/ 0 w 28"/>
              <a:gd name="T5" fmla="*/ 15387 h 26"/>
              <a:gd name="T6" fmla="*/ 2721 w 28"/>
              <a:gd name="T7" fmla="*/ 23080 h 26"/>
              <a:gd name="T8" fmla="*/ 8164 w 28"/>
              <a:gd name="T9" fmla="*/ 23080 h 26"/>
              <a:gd name="T10" fmla="*/ 27214 w 28"/>
              <a:gd name="T11" fmla="*/ 12822 h 26"/>
              <a:gd name="T12" fmla="*/ 23132 w 28"/>
              <a:gd name="T13" fmla="*/ 0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26"/>
              <a:gd name="T23" fmla="*/ 28 w 28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26">
                <a:moveTo>
                  <a:pt x="24" y="0"/>
                </a:moveTo>
                <a:lnTo>
                  <a:pt x="13" y="6"/>
                </a:lnTo>
                <a:lnTo>
                  <a:pt x="0" y="17"/>
                </a:lnTo>
                <a:lnTo>
                  <a:pt x="2" y="26"/>
                </a:lnTo>
                <a:lnTo>
                  <a:pt x="9" y="26"/>
                </a:lnTo>
                <a:lnTo>
                  <a:pt x="28" y="13"/>
                </a:lnTo>
                <a:lnTo>
                  <a:pt x="24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39" name="Freeform 38"/>
          <p:cNvSpPr>
            <a:spLocks noChangeAspect="1"/>
          </p:cNvSpPr>
          <p:nvPr/>
        </p:nvSpPr>
        <p:spPr bwMode="auto">
          <a:xfrm>
            <a:off x="3347889" y="1867247"/>
            <a:ext cx="603250" cy="1169988"/>
          </a:xfrm>
          <a:custGeom>
            <a:avLst/>
            <a:gdLst>
              <a:gd name="T0" fmla="*/ 118446 w 438"/>
              <a:gd name="T1" fmla="*/ 809792 h 903"/>
              <a:gd name="T2" fmla="*/ 93655 w 438"/>
              <a:gd name="T3" fmla="*/ 789062 h 903"/>
              <a:gd name="T4" fmla="*/ 59223 w 438"/>
              <a:gd name="T5" fmla="*/ 783879 h 903"/>
              <a:gd name="T6" fmla="*/ 59223 w 438"/>
              <a:gd name="T7" fmla="*/ 717800 h 903"/>
              <a:gd name="T8" fmla="*/ 44073 w 438"/>
              <a:gd name="T9" fmla="*/ 673747 h 903"/>
              <a:gd name="T10" fmla="*/ 41318 w 438"/>
              <a:gd name="T11" fmla="*/ 638764 h 903"/>
              <a:gd name="T12" fmla="*/ 30300 w 438"/>
              <a:gd name="T13" fmla="*/ 607668 h 903"/>
              <a:gd name="T14" fmla="*/ 52337 w 438"/>
              <a:gd name="T15" fmla="*/ 577868 h 903"/>
              <a:gd name="T16" fmla="*/ 63355 w 438"/>
              <a:gd name="T17" fmla="*/ 549363 h 903"/>
              <a:gd name="T18" fmla="*/ 106051 w 438"/>
              <a:gd name="T19" fmla="*/ 515676 h 903"/>
              <a:gd name="T20" fmla="*/ 137728 w 438"/>
              <a:gd name="T21" fmla="*/ 474214 h 903"/>
              <a:gd name="T22" fmla="*/ 159765 w 438"/>
              <a:gd name="T23" fmla="*/ 439231 h 903"/>
              <a:gd name="T24" fmla="*/ 179047 w 438"/>
              <a:gd name="T25" fmla="*/ 415909 h 903"/>
              <a:gd name="T26" fmla="*/ 181801 w 438"/>
              <a:gd name="T27" fmla="*/ 391292 h 903"/>
              <a:gd name="T28" fmla="*/ 174915 w 438"/>
              <a:gd name="T29" fmla="*/ 367970 h 903"/>
              <a:gd name="T30" fmla="*/ 152878 w 438"/>
              <a:gd name="T31" fmla="*/ 357604 h 903"/>
              <a:gd name="T32" fmla="*/ 118446 w 438"/>
              <a:gd name="T33" fmla="*/ 291525 h 903"/>
              <a:gd name="T34" fmla="*/ 122578 w 438"/>
              <a:gd name="T35" fmla="*/ 237107 h 903"/>
              <a:gd name="T36" fmla="*/ 106051 w 438"/>
              <a:gd name="T37" fmla="*/ 181394 h 903"/>
              <a:gd name="T38" fmla="*/ 81260 w 438"/>
              <a:gd name="T39" fmla="*/ 146410 h 903"/>
              <a:gd name="T40" fmla="*/ 30300 w 438"/>
              <a:gd name="T41" fmla="*/ 119201 h 903"/>
              <a:gd name="T42" fmla="*/ 11018 w 438"/>
              <a:gd name="T43" fmla="*/ 93288 h 903"/>
              <a:gd name="T44" fmla="*/ 15150 w 438"/>
              <a:gd name="T45" fmla="*/ 72557 h 903"/>
              <a:gd name="T46" fmla="*/ 48205 w 438"/>
              <a:gd name="T47" fmla="*/ 88105 h 903"/>
              <a:gd name="T48" fmla="*/ 106051 w 438"/>
              <a:gd name="T49" fmla="*/ 102358 h 903"/>
              <a:gd name="T50" fmla="*/ 129465 w 438"/>
              <a:gd name="T51" fmla="*/ 115314 h 903"/>
              <a:gd name="T52" fmla="*/ 159765 w 438"/>
              <a:gd name="T53" fmla="*/ 93288 h 903"/>
              <a:gd name="T54" fmla="*/ 179047 w 438"/>
              <a:gd name="T55" fmla="*/ 72557 h 903"/>
              <a:gd name="T56" fmla="*/ 174915 w 438"/>
              <a:gd name="T57" fmla="*/ 34983 h 903"/>
              <a:gd name="T58" fmla="*/ 205215 w 438"/>
              <a:gd name="T59" fmla="*/ 16844 h 903"/>
              <a:gd name="T60" fmla="*/ 243779 w 438"/>
              <a:gd name="T61" fmla="*/ 24618 h 903"/>
              <a:gd name="T62" fmla="*/ 243779 w 438"/>
              <a:gd name="T63" fmla="*/ 54418 h 903"/>
              <a:gd name="T64" fmla="*/ 212102 w 438"/>
              <a:gd name="T65" fmla="*/ 84218 h 903"/>
              <a:gd name="T66" fmla="*/ 249288 w 438"/>
              <a:gd name="T67" fmla="*/ 79036 h 903"/>
              <a:gd name="T68" fmla="*/ 253420 w 438"/>
              <a:gd name="T69" fmla="*/ 27209 h 903"/>
              <a:gd name="T70" fmla="*/ 275457 w 438"/>
              <a:gd name="T71" fmla="*/ 58305 h 903"/>
              <a:gd name="T72" fmla="*/ 267193 w 438"/>
              <a:gd name="T73" fmla="*/ 104949 h 903"/>
              <a:gd name="T74" fmla="*/ 297493 w 438"/>
              <a:gd name="T75" fmla="*/ 146410 h 903"/>
              <a:gd name="T76" fmla="*/ 315398 w 438"/>
              <a:gd name="T77" fmla="*/ 183985 h 903"/>
              <a:gd name="T78" fmla="*/ 319530 w 438"/>
              <a:gd name="T79" fmla="*/ 242290 h 903"/>
              <a:gd name="T80" fmla="*/ 349830 w 438"/>
              <a:gd name="T81" fmla="*/ 325213 h 903"/>
              <a:gd name="T82" fmla="*/ 360848 w 438"/>
              <a:gd name="T83" fmla="*/ 415909 h 903"/>
              <a:gd name="T84" fmla="*/ 375998 w 438"/>
              <a:gd name="T85" fmla="*/ 480693 h 903"/>
              <a:gd name="T86" fmla="*/ 420071 w 438"/>
              <a:gd name="T87" fmla="*/ 524745 h 903"/>
              <a:gd name="T88" fmla="*/ 437976 w 438"/>
              <a:gd name="T89" fmla="*/ 559728 h 903"/>
              <a:gd name="T90" fmla="*/ 415940 w 438"/>
              <a:gd name="T91" fmla="*/ 630990 h 903"/>
              <a:gd name="T92" fmla="*/ 404921 w 438"/>
              <a:gd name="T93" fmla="*/ 668565 h 903"/>
              <a:gd name="T94" fmla="*/ 382885 w 438"/>
              <a:gd name="T95" fmla="*/ 690591 h 903"/>
              <a:gd name="T96" fmla="*/ 326416 w 438"/>
              <a:gd name="T97" fmla="*/ 742418 h 903"/>
              <a:gd name="T98" fmla="*/ 301625 w 438"/>
              <a:gd name="T99" fmla="*/ 765740 h 903"/>
              <a:gd name="T100" fmla="*/ 267193 w 438"/>
              <a:gd name="T101" fmla="*/ 779992 h 903"/>
              <a:gd name="T102" fmla="*/ 216233 w 438"/>
              <a:gd name="T103" fmla="*/ 794244 h 903"/>
              <a:gd name="T104" fmla="*/ 163897 w 438"/>
              <a:gd name="T105" fmla="*/ 813679 h 903"/>
              <a:gd name="T106" fmla="*/ 122578 w 438"/>
              <a:gd name="T107" fmla="*/ 838297 h 90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38"/>
              <a:gd name="T163" fmla="*/ 0 h 903"/>
              <a:gd name="T164" fmla="*/ 438 w 438"/>
              <a:gd name="T165" fmla="*/ 903 h 90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38" h="903">
                <a:moveTo>
                  <a:pt x="122" y="903"/>
                </a:moveTo>
                <a:lnTo>
                  <a:pt x="119" y="873"/>
                </a:lnTo>
                <a:lnTo>
                  <a:pt x="104" y="858"/>
                </a:lnTo>
                <a:lnTo>
                  <a:pt x="93" y="851"/>
                </a:lnTo>
                <a:lnTo>
                  <a:pt x="74" y="844"/>
                </a:lnTo>
                <a:lnTo>
                  <a:pt x="59" y="844"/>
                </a:lnTo>
                <a:lnTo>
                  <a:pt x="52" y="829"/>
                </a:lnTo>
                <a:lnTo>
                  <a:pt x="59" y="773"/>
                </a:lnTo>
                <a:lnTo>
                  <a:pt x="56" y="740"/>
                </a:lnTo>
                <a:lnTo>
                  <a:pt x="44" y="725"/>
                </a:lnTo>
                <a:lnTo>
                  <a:pt x="37" y="718"/>
                </a:lnTo>
                <a:lnTo>
                  <a:pt x="41" y="688"/>
                </a:lnTo>
                <a:lnTo>
                  <a:pt x="37" y="669"/>
                </a:lnTo>
                <a:lnTo>
                  <a:pt x="30" y="655"/>
                </a:lnTo>
                <a:lnTo>
                  <a:pt x="41" y="622"/>
                </a:lnTo>
                <a:lnTo>
                  <a:pt x="52" y="622"/>
                </a:lnTo>
                <a:lnTo>
                  <a:pt x="59" y="615"/>
                </a:lnTo>
                <a:lnTo>
                  <a:pt x="63" y="592"/>
                </a:lnTo>
                <a:lnTo>
                  <a:pt x="85" y="574"/>
                </a:lnTo>
                <a:lnTo>
                  <a:pt x="107" y="555"/>
                </a:lnTo>
                <a:lnTo>
                  <a:pt x="111" y="533"/>
                </a:lnTo>
                <a:lnTo>
                  <a:pt x="137" y="511"/>
                </a:lnTo>
                <a:lnTo>
                  <a:pt x="163" y="485"/>
                </a:lnTo>
                <a:lnTo>
                  <a:pt x="159" y="474"/>
                </a:lnTo>
                <a:lnTo>
                  <a:pt x="159" y="459"/>
                </a:lnTo>
                <a:lnTo>
                  <a:pt x="178" y="448"/>
                </a:lnTo>
                <a:lnTo>
                  <a:pt x="185" y="444"/>
                </a:lnTo>
                <a:lnTo>
                  <a:pt x="181" y="422"/>
                </a:lnTo>
                <a:lnTo>
                  <a:pt x="181" y="400"/>
                </a:lnTo>
                <a:lnTo>
                  <a:pt x="174" y="396"/>
                </a:lnTo>
                <a:lnTo>
                  <a:pt x="163" y="400"/>
                </a:lnTo>
                <a:lnTo>
                  <a:pt x="152" y="385"/>
                </a:lnTo>
                <a:lnTo>
                  <a:pt x="141" y="344"/>
                </a:lnTo>
                <a:lnTo>
                  <a:pt x="119" y="314"/>
                </a:lnTo>
                <a:lnTo>
                  <a:pt x="126" y="273"/>
                </a:lnTo>
                <a:lnTo>
                  <a:pt x="122" y="255"/>
                </a:lnTo>
                <a:lnTo>
                  <a:pt x="96" y="229"/>
                </a:lnTo>
                <a:lnTo>
                  <a:pt x="107" y="196"/>
                </a:lnTo>
                <a:lnTo>
                  <a:pt x="100" y="177"/>
                </a:lnTo>
                <a:lnTo>
                  <a:pt x="81" y="158"/>
                </a:lnTo>
                <a:lnTo>
                  <a:pt x="70" y="170"/>
                </a:lnTo>
                <a:lnTo>
                  <a:pt x="30" y="129"/>
                </a:lnTo>
                <a:lnTo>
                  <a:pt x="19" y="114"/>
                </a:lnTo>
                <a:lnTo>
                  <a:pt x="11" y="99"/>
                </a:lnTo>
                <a:lnTo>
                  <a:pt x="0" y="92"/>
                </a:lnTo>
                <a:lnTo>
                  <a:pt x="15" y="78"/>
                </a:lnTo>
                <a:lnTo>
                  <a:pt x="37" y="78"/>
                </a:lnTo>
                <a:lnTo>
                  <a:pt x="48" y="95"/>
                </a:lnTo>
                <a:lnTo>
                  <a:pt x="78" y="129"/>
                </a:lnTo>
                <a:lnTo>
                  <a:pt x="107" y="110"/>
                </a:lnTo>
                <a:lnTo>
                  <a:pt x="126" y="114"/>
                </a:lnTo>
                <a:lnTo>
                  <a:pt x="130" y="125"/>
                </a:lnTo>
                <a:lnTo>
                  <a:pt x="152" y="129"/>
                </a:lnTo>
                <a:lnTo>
                  <a:pt x="159" y="99"/>
                </a:lnTo>
                <a:lnTo>
                  <a:pt x="170" y="89"/>
                </a:lnTo>
                <a:lnTo>
                  <a:pt x="178" y="78"/>
                </a:lnTo>
                <a:lnTo>
                  <a:pt x="178" y="67"/>
                </a:lnTo>
                <a:lnTo>
                  <a:pt x="174" y="37"/>
                </a:lnTo>
                <a:lnTo>
                  <a:pt x="193" y="19"/>
                </a:lnTo>
                <a:lnTo>
                  <a:pt x="204" y="19"/>
                </a:lnTo>
                <a:lnTo>
                  <a:pt x="222" y="0"/>
                </a:lnTo>
                <a:lnTo>
                  <a:pt x="244" y="26"/>
                </a:lnTo>
                <a:lnTo>
                  <a:pt x="252" y="37"/>
                </a:lnTo>
                <a:lnTo>
                  <a:pt x="244" y="59"/>
                </a:lnTo>
                <a:lnTo>
                  <a:pt x="226" y="74"/>
                </a:lnTo>
                <a:lnTo>
                  <a:pt x="211" y="92"/>
                </a:lnTo>
                <a:lnTo>
                  <a:pt x="215" y="110"/>
                </a:lnTo>
                <a:lnTo>
                  <a:pt x="248" y="85"/>
                </a:lnTo>
                <a:lnTo>
                  <a:pt x="248" y="63"/>
                </a:lnTo>
                <a:lnTo>
                  <a:pt x="252" y="30"/>
                </a:lnTo>
                <a:lnTo>
                  <a:pt x="263" y="22"/>
                </a:lnTo>
                <a:lnTo>
                  <a:pt x="275" y="63"/>
                </a:lnTo>
                <a:lnTo>
                  <a:pt x="275" y="99"/>
                </a:lnTo>
                <a:lnTo>
                  <a:pt x="267" y="114"/>
                </a:lnTo>
                <a:lnTo>
                  <a:pt x="267" y="136"/>
                </a:lnTo>
                <a:lnTo>
                  <a:pt x="297" y="158"/>
                </a:lnTo>
                <a:lnTo>
                  <a:pt x="297" y="173"/>
                </a:lnTo>
                <a:lnTo>
                  <a:pt x="316" y="199"/>
                </a:lnTo>
                <a:lnTo>
                  <a:pt x="323" y="218"/>
                </a:lnTo>
                <a:lnTo>
                  <a:pt x="319" y="262"/>
                </a:lnTo>
                <a:lnTo>
                  <a:pt x="331" y="311"/>
                </a:lnTo>
                <a:lnTo>
                  <a:pt x="349" y="351"/>
                </a:lnTo>
                <a:lnTo>
                  <a:pt x="345" y="411"/>
                </a:lnTo>
                <a:lnTo>
                  <a:pt x="360" y="448"/>
                </a:lnTo>
                <a:lnTo>
                  <a:pt x="368" y="463"/>
                </a:lnTo>
                <a:lnTo>
                  <a:pt x="375" y="518"/>
                </a:lnTo>
                <a:lnTo>
                  <a:pt x="382" y="541"/>
                </a:lnTo>
                <a:lnTo>
                  <a:pt x="419" y="566"/>
                </a:lnTo>
                <a:lnTo>
                  <a:pt x="438" y="589"/>
                </a:lnTo>
                <a:lnTo>
                  <a:pt x="438" y="604"/>
                </a:lnTo>
                <a:lnTo>
                  <a:pt x="423" y="673"/>
                </a:lnTo>
                <a:lnTo>
                  <a:pt x="416" y="680"/>
                </a:lnTo>
                <a:lnTo>
                  <a:pt x="423" y="695"/>
                </a:lnTo>
                <a:lnTo>
                  <a:pt x="405" y="721"/>
                </a:lnTo>
                <a:lnTo>
                  <a:pt x="382" y="732"/>
                </a:lnTo>
                <a:lnTo>
                  <a:pt x="382" y="744"/>
                </a:lnTo>
                <a:lnTo>
                  <a:pt x="349" y="788"/>
                </a:lnTo>
                <a:lnTo>
                  <a:pt x="327" y="799"/>
                </a:lnTo>
                <a:lnTo>
                  <a:pt x="323" y="825"/>
                </a:lnTo>
                <a:lnTo>
                  <a:pt x="301" y="825"/>
                </a:lnTo>
                <a:lnTo>
                  <a:pt x="290" y="833"/>
                </a:lnTo>
                <a:lnTo>
                  <a:pt x="267" y="840"/>
                </a:lnTo>
                <a:lnTo>
                  <a:pt x="237" y="836"/>
                </a:lnTo>
                <a:lnTo>
                  <a:pt x="215" y="855"/>
                </a:lnTo>
                <a:lnTo>
                  <a:pt x="189" y="870"/>
                </a:lnTo>
                <a:lnTo>
                  <a:pt x="163" y="877"/>
                </a:lnTo>
                <a:lnTo>
                  <a:pt x="144" y="892"/>
                </a:lnTo>
                <a:lnTo>
                  <a:pt x="122" y="903"/>
                </a:lnTo>
                <a:close/>
              </a:path>
            </a:pathLst>
          </a:custGeom>
          <a:solidFill>
            <a:srgbClr val="008000"/>
          </a:solidFill>
          <a:ln>
            <a:noFill/>
          </a:ln>
          <a:extLst/>
        </p:spPr>
        <p:txBody>
          <a:bodyPr wrap="none" anchor="ctr"/>
          <a:lstStyle/>
          <a:p>
            <a:endParaRPr lang="en-CA">
              <a:latin typeface="Arial Narrow" pitchFamily="34" charset="0"/>
            </a:endParaRPr>
          </a:p>
        </p:txBody>
      </p:sp>
      <p:sp>
        <p:nvSpPr>
          <p:cNvPr id="140" name="Freeform 39"/>
          <p:cNvSpPr>
            <a:spLocks noChangeAspect="1"/>
          </p:cNvSpPr>
          <p:nvPr/>
        </p:nvSpPr>
        <p:spPr bwMode="auto">
          <a:xfrm>
            <a:off x="3743176" y="2283172"/>
            <a:ext cx="22225" cy="28575"/>
          </a:xfrm>
          <a:custGeom>
            <a:avLst/>
            <a:gdLst>
              <a:gd name="T0" fmla="*/ 9723 w 16"/>
              <a:gd name="T1" fmla="*/ 2598 h 22"/>
              <a:gd name="T2" fmla="*/ 0 w 16"/>
              <a:gd name="T3" fmla="*/ 0 h 22"/>
              <a:gd name="T4" fmla="*/ 6945 w 16"/>
              <a:gd name="T5" fmla="*/ 20782 h 22"/>
              <a:gd name="T6" fmla="*/ 13891 w 16"/>
              <a:gd name="T7" fmla="*/ 16885 h 22"/>
              <a:gd name="T8" fmla="*/ 9723 w 16"/>
              <a:gd name="T9" fmla="*/ 2598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22"/>
              <a:gd name="T17" fmla="*/ 16 w 16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22">
                <a:moveTo>
                  <a:pt x="10" y="2"/>
                </a:moveTo>
                <a:lnTo>
                  <a:pt x="0" y="0"/>
                </a:lnTo>
                <a:lnTo>
                  <a:pt x="8" y="22"/>
                </a:lnTo>
                <a:lnTo>
                  <a:pt x="16" y="17"/>
                </a:lnTo>
                <a:lnTo>
                  <a:pt x="10" y="2"/>
                </a:lnTo>
                <a:close/>
              </a:path>
            </a:pathLst>
          </a:custGeom>
          <a:solidFill>
            <a:schemeClr val="bg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1" name="Freeform 40"/>
          <p:cNvSpPr>
            <a:spLocks noChangeAspect="1"/>
          </p:cNvSpPr>
          <p:nvPr/>
        </p:nvSpPr>
        <p:spPr bwMode="auto">
          <a:xfrm>
            <a:off x="3784451" y="2389535"/>
            <a:ext cx="23813" cy="60325"/>
          </a:xfrm>
          <a:custGeom>
            <a:avLst/>
            <a:gdLst>
              <a:gd name="T0" fmla="*/ 19348 w 16"/>
              <a:gd name="T1" fmla="*/ 0 h 45"/>
              <a:gd name="T2" fmla="*/ 0 w 16"/>
              <a:gd name="T3" fmla="*/ 8043 h 45"/>
              <a:gd name="T4" fmla="*/ 0 w 16"/>
              <a:gd name="T5" fmla="*/ 45579 h 45"/>
              <a:gd name="T6" fmla="*/ 11907 w 16"/>
              <a:gd name="T7" fmla="*/ 29492 h 45"/>
              <a:gd name="T8" fmla="*/ 11907 w 16"/>
              <a:gd name="T9" fmla="*/ 8043 h 45"/>
              <a:gd name="T10" fmla="*/ 7442 w 16"/>
              <a:gd name="T11" fmla="*/ 6703 h 45"/>
              <a:gd name="T12" fmla="*/ 19348 w 16"/>
              <a:gd name="T13" fmla="*/ 0 h 4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"/>
              <a:gd name="T22" fmla="*/ 0 h 45"/>
              <a:gd name="T23" fmla="*/ 16 w 16"/>
              <a:gd name="T24" fmla="*/ 45 h 4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" h="45">
                <a:moveTo>
                  <a:pt x="16" y="0"/>
                </a:moveTo>
                <a:lnTo>
                  <a:pt x="0" y="9"/>
                </a:lnTo>
                <a:lnTo>
                  <a:pt x="0" y="45"/>
                </a:lnTo>
                <a:lnTo>
                  <a:pt x="8" y="28"/>
                </a:lnTo>
                <a:lnTo>
                  <a:pt x="11" y="9"/>
                </a:lnTo>
                <a:lnTo>
                  <a:pt x="5" y="8"/>
                </a:lnTo>
                <a:lnTo>
                  <a:pt x="16" y="0"/>
                </a:lnTo>
                <a:close/>
              </a:path>
            </a:pathLst>
          </a:custGeom>
          <a:solidFill>
            <a:schemeClr val="bg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2" name="Freeform 41"/>
          <p:cNvSpPr>
            <a:spLocks noChangeAspect="1"/>
          </p:cNvSpPr>
          <p:nvPr/>
        </p:nvSpPr>
        <p:spPr bwMode="auto">
          <a:xfrm>
            <a:off x="3819376" y="2475260"/>
            <a:ext cx="26988" cy="33337"/>
          </a:xfrm>
          <a:custGeom>
            <a:avLst/>
            <a:gdLst>
              <a:gd name="T0" fmla="*/ 5682 w 19"/>
              <a:gd name="T1" fmla="*/ 0 h 26"/>
              <a:gd name="T2" fmla="*/ 0 w 19"/>
              <a:gd name="T3" fmla="*/ 5129 h 26"/>
              <a:gd name="T4" fmla="*/ 5682 w 19"/>
              <a:gd name="T5" fmla="*/ 23079 h 26"/>
              <a:gd name="T6" fmla="*/ 17045 w 19"/>
              <a:gd name="T7" fmla="*/ 17951 h 26"/>
              <a:gd name="T8" fmla="*/ 18465 w 19"/>
              <a:gd name="T9" fmla="*/ 10258 h 26"/>
              <a:gd name="T10" fmla="*/ 5682 w 19"/>
              <a:gd name="T11" fmla="*/ 0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26"/>
              <a:gd name="T20" fmla="*/ 19 w 19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26">
                <a:moveTo>
                  <a:pt x="4" y="0"/>
                </a:moveTo>
                <a:lnTo>
                  <a:pt x="0" y="7"/>
                </a:lnTo>
                <a:lnTo>
                  <a:pt x="6" y="26"/>
                </a:lnTo>
                <a:lnTo>
                  <a:pt x="17" y="20"/>
                </a:lnTo>
                <a:lnTo>
                  <a:pt x="19" y="11"/>
                </a:lnTo>
                <a:lnTo>
                  <a:pt x="4" y="0"/>
                </a:lnTo>
                <a:close/>
              </a:path>
            </a:pathLst>
          </a:custGeom>
          <a:solidFill>
            <a:schemeClr val="bg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3" name="Freeform 51"/>
          <p:cNvSpPr>
            <a:spLocks noChangeAspect="1"/>
          </p:cNvSpPr>
          <p:nvPr/>
        </p:nvSpPr>
        <p:spPr bwMode="auto">
          <a:xfrm>
            <a:off x="2709714" y="4037360"/>
            <a:ext cx="552450" cy="285750"/>
          </a:xfrm>
          <a:custGeom>
            <a:avLst/>
            <a:gdLst>
              <a:gd name="T0" fmla="*/ 98701 w 403"/>
              <a:gd name="T1" fmla="*/ 196128 h 220"/>
              <a:gd name="T2" fmla="*/ 94588 w 403"/>
              <a:gd name="T3" fmla="*/ 184439 h 220"/>
              <a:gd name="T4" fmla="*/ 82251 w 403"/>
              <a:gd name="T5" fmla="*/ 179243 h 220"/>
              <a:gd name="T6" fmla="*/ 35642 w 403"/>
              <a:gd name="T7" fmla="*/ 138978 h 220"/>
              <a:gd name="T8" fmla="*/ 32900 w 403"/>
              <a:gd name="T9" fmla="*/ 116898 h 220"/>
              <a:gd name="T10" fmla="*/ 12338 w 403"/>
              <a:gd name="T11" fmla="*/ 115599 h 220"/>
              <a:gd name="T12" fmla="*/ 13708 w 403"/>
              <a:gd name="T13" fmla="*/ 94817 h 220"/>
              <a:gd name="T14" fmla="*/ 5483 w 403"/>
              <a:gd name="T15" fmla="*/ 75334 h 220"/>
              <a:gd name="T16" fmla="*/ 0 w 403"/>
              <a:gd name="T17" fmla="*/ 66242 h 220"/>
              <a:gd name="T18" fmla="*/ 5483 w 403"/>
              <a:gd name="T19" fmla="*/ 54552 h 220"/>
              <a:gd name="T20" fmla="*/ 17821 w 403"/>
              <a:gd name="T21" fmla="*/ 54552 h 220"/>
              <a:gd name="T22" fmla="*/ 43867 w 403"/>
              <a:gd name="T23" fmla="*/ 49357 h 220"/>
              <a:gd name="T24" fmla="*/ 126118 w 403"/>
              <a:gd name="T25" fmla="*/ 10391 h 220"/>
              <a:gd name="T26" fmla="*/ 141197 w 403"/>
              <a:gd name="T27" fmla="*/ 0 h 220"/>
              <a:gd name="T28" fmla="*/ 152164 w 403"/>
              <a:gd name="T29" fmla="*/ 12989 h 220"/>
              <a:gd name="T30" fmla="*/ 169985 w 403"/>
              <a:gd name="T31" fmla="*/ 5195 h 220"/>
              <a:gd name="T32" fmla="*/ 186435 w 403"/>
              <a:gd name="T33" fmla="*/ 5195 h 220"/>
              <a:gd name="T34" fmla="*/ 196031 w 403"/>
              <a:gd name="T35" fmla="*/ 14288 h 220"/>
              <a:gd name="T36" fmla="*/ 196031 w 403"/>
              <a:gd name="T37" fmla="*/ 31173 h 220"/>
              <a:gd name="T38" fmla="*/ 224818 w 403"/>
              <a:gd name="T39" fmla="*/ 49357 h 220"/>
              <a:gd name="T40" fmla="*/ 227560 w 403"/>
              <a:gd name="T41" fmla="*/ 61047 h 220"/>
              <a:gd name="T42" fmla="*/ 238527 w 403"/>
              <a:gd name="T43" fmla="*/ 74035 h 220"/>
              <a:gd name="T44" fmla="*/ 246752 w 403"/>
              <a:gd name="T45" fmla="*/ 80530 h 220"/>
              <a:gd name="T46" fmla="*/ 250864 w 403"/>
              <a:gd name="T47" fmla="*/ 74035 h 220"/>
              <a:gd name="T48" fmla="*/ 272798 w 403"/>
              <a:gd name="T49" fmla="*/ 64943 h 220"/>
              <a:gd name="T50" fmla="*/ 281023 w 403"/>
              <a:gd name="T51" fmla="*/ 66242 h 220"/>
              <a:gd name="T52" fmla="*/ 308440 w 403"/>
              <a:gd name="T53" fmla="*/ 94817 h 220"/>
              <a:gd name="T54" fmla="*/ 312552 w 403"/>
              <a:gd name="T55" fmla="*/ 93518 h 220"/>
              <a:gd name="T56" fmla="*/ 339969 w 403"/>
              <a:gd name="T57" fmla="*/ 106507 h 220"/>
              <a:gd name="T58" fmla="*/ 379724 w 403"/>
              <a:gd name="T59" fmla="*/ 105208 h 220"/>
              <a:gd name="T60" fmla="*/ 400286 w 403"/>
              <a:gd name="T61" fmla="*/ 116898 h 220"/>
              <a:gd name="T62" fmla="*/ 356419 w 403"/>
              <a:gd name="T63" fmla="*/ 140277 h 220"/>
              <a:gd name="T64" fmla="*/ 355049 w 403"/>
              <a:gd name="T65" fmla="*/ 168852 h 220"/>
              <a:gd name="T66" fmla="*/ 327632 w 403"/>
              <a:gd name="T67" fmla="*/ 192232 h 220"/>
              <a:gd name="T68" fmla="*/ 298844 w 403"/>
              <a:gd name="T69" fmla="*/ 192232 h 220"/>
              <a:gd name="T70" fmla="*/ 283765 w 403"/>
              <a:gd name="T71" fmla="*/ 197427 h 220"/>
              <a:gd name="T72" fmla="*/ 263202 w 403"/>
              <a:gd name="T73" fmla="*/ 205220 h 220"/>
              <a:gd name="T74" fmla="*/ 238527 w 403"/>
              <a:gd name="T75" fmla="*/ 190933 h 220"/>
              <a:gd name="T76" fmla="*/ 223448 w 403"/>
              <a:gd name="T77" fmla="*/ 197427 h 220"/>
              <a:gd name="T78" fmla="*/ 208368 w 403"/>
              <a:gd name="T79" fmla="*/ 201324 h 220"/>
              <a:gd name="T80" fmla="*/ 196031 w 403"/>
              <a:gd name="T81" fmla="*/ 183140 h 220"/>
              <a:gd name="T82" fmla="*/ 161760 w 403"/>
              <a:gd name="T83" fmla="*/ 183140 h 220"/>
              <a:gd name="T84" fmla="*/ 150793 w 403"/>
              <a:gd name="T85" fmla="*/ 192232 h 220"/>
              <a:gd name="T86" fmla="*/ 141197 w 403"/>
              <a:gd name="T87" fmla="*/ 198726 h 220"/>
              <a:gd name="T88" fmla="*/ 127488 w 403"/>
              <a:gd name="T89" fmla="*/ 198726 h 220"/>
              <a:gd name="T90" fmla="*/ 112409 w 403"/>
              <a:gd name="T91" fmla="*/ 201324 h 220"/>
              <a:gd name="T92" fmla="*/ 98701 w 403"/>
              <a:gd name="T93" fmla="*/ 196128 h 22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03"/>
              <a:gd name="T142" fmla="*/ 0 h 220"/>
              <a:gd name="T143" fmla="*/ 403 w 403"/>
              <a:gd name="T144" fmla="*/ 220 h 22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4" name="Freeform 52"/>
          <p:cNvSpPr>
            <a:spLocks noChangeAspect="1"/>
          </p:cNvSpPr>
          <p:nvPr/>
        </p:nvSpPr>
        <p:spPr bwMode="auto">
          <a:xfrm>
            <a:off x="2763689" y="4567585"/>
            <a:ext cx="500062" cy="461962"/>
          </a:xfrm>
          <a:custGeom>
            <a:avLst/>
            <a:gdLst>
              <a:gd name="T0" fmla="*/ 5495 w 364"/>
              <a:gd name="T1" fmla="*/ 93169 h 357"/>
              <a:gd name="T2" fmla="*/ 21981 w 364"/>
              <a:gd name="T3" fmla="*/ 120343 h 357"/>
              <a:gd name="T4" fmla="*/ 41214 w 364"/>
              <a:gd name="T5" fmla="*/ 116461 h 357"/>
              <a:gd name="T6" fmla="*/ 54952 w 364"/>
              <a:gd name="T7" fmla="*/ 91875 h 357"/>
              <a:gd name="T8" fmla="*/ 81054 w 364"/>
              <a:gd name="T9" fmla="*/ 102227 h 357"/>
              <a:gd name="T10" fmla="*/ 89297 w 364"/>
              <a:gd name="T11" fmla="*/ 125519 h 357"/>
              <a:gd name="T12" fmla="*/ 103035 w 364"/>
              <a:gd name="T13" fmla="*/ 153987 h 357"/>
              <a:gd name="T14" fmla="*/ 115399 w 364"/>
              <a:gd name="T15" fmla="*/ 174692 h 357"/>
              <a:gd name="T16" fmla="*/ 104409 w 364"/>
              <a:gd name="T17" fmla="*/ 183750 h 357"/>
              <a:gd name="T18" fmla="*/ 160734 w 364"/>
              <a:gd name="T19" fmla="*/ 239392 h 357"/>
              <a:gd name="T20" fmla="*/ 188210 w 364"/>
              <a:gd name="T21" fmla="*/ 243274 h 357"/>
              <a:gd name="T22" fmla="*/ 228050 w 364"/>
              <a:gd name="T23" fmla="*/ 267860 h 357"/>
              <a:gd name="T24" fmla="*/ 239041 w 364"/>
              <a:gd name="T25" fmla="*/ 289858 h 357"/>
              <a:gd name="T26" fmla="*/ 248657 w 364"/>
              <a:gd name="T27" fmla="*/ 288564 h 357"/>
              <a:gd name="T28" fmla="*/ 273386 w 364"/>
              <a:gd name="T29" fmla="*/ 300211 h 357"/>
              <a:gd name="T30" fmla="*/ 288497 w 364"/>
              <a:gd name="T31" fmla="*/ 298917 h 357"/>
              <a:gd name="T32" fmla="*/ 288497 w 364"/>
              <a:gd name="T33" fmla="*/ 276918 h 357"/>
              <a:gd name="T34" fmla="*/ 270638 w 364"/>
              <a:gd name="T35" fmla="*/ 254920 h 357"/>
              <a:gd name="T36" fmla="*/ 228050 w 364"/>
              <a:gd name="T37" fmla="*/ 213512 h 357"/>
              <a:gd name="T38" fmla="*/ 212939 w 364"/>
              <a:gd name="T39" fmla="*/ 210924 h 357"/>
              <a:gd name="T40" fmla="*/ 199201 w 364"/>
              <a:gd name="T41" fmla="*/ 200572 h 357"/>
              <a:gd name="T42" fmla="*/ 188210 w 364"/>
              <a:gd name="T43" fmla="*/ 181162 h 357"/>
              <a:gd name="T44" fmla="*/ 168977 w 364"/>
              <a:gd name="T45" fmla="*/ 151399 h 357"/>
              <a:gd name="T46" fmla="*/ 136006 w 364"/>
              <a:gd name="T47" fmla="*/ 116461 h 357"/>
              <a:gd name="T48" fmla="*/ 152491 w 364"/>
              <a:gd name="T49" fmla="*/ 109991 h 357"/>
              <a:gd name="T50" fmla="*/ 222555 w 364"/>
              <a:gd name="T51" fmla="*/ 93169 h 357"/>
              <a:gd name="T52" fmla="*/ 254152 w 364"/>
              <a:gd name="T53" fmla="*/ 112579 h 357"/>
              <a:gd name="T54" fmla="*/ 267890 w 364"/>
              <a:gd name="T55" fmla="*/ 112579 h 357"/>
              <a:gd name="T56" fmla="*/ 295366 w 364"/>
              <a:gd name="T57" fmla="*/ 113873 h 357"/>
              <a:gd name="T58" fmla="*/ 332459 w 364"/>
              <a:gd name="T59" fmla="*/ 112579 h 357"/>
              <a:gd name="T60" fmla="*/ 355813 w 364"/>
              <a:gd name="T61" fmla="*/ 125519 h 357"/>
              <a:gd name="T62" fmla="*/ 362682 w 364"/>
              <a:gd name="T63" fmla="*/ 102227 h 357"/>
              <a:gd name="T64" fmla="*/ 343449 w 364"/>
              <a:gd name="T65" fmla="*/ 82817 h 357"/>
              <a:gd name="T66" fmla="*/ 343449 w 364"/>
              <a:gd name="T67" fmla="*/ 63407 h 357"/>
              <a:gd name="T68" fmla="*/ 328337 w 364"/>
              <a:gd name="T69" fmla="*/ 49172 h 357"/>
              <a:gd name="T70" fmla="*/ 310478 w 364"/>
              <a:gd name="T71" fmla="*/ 53054 h 357"/>
              <a:gd name="T72" fmla="*/ 292619 w 364"/>
              <a:gd name="T73" fmla="*/ 59525 h 357"/>
              <a:gd name="T74" fmla="*/ 265143 w 364"/>
              <a:gd name="T75" fmla="*/ 38820 h 357"/>
              <a:gd name="T76" fmla="*/ 240414 w 364"/>
              <a:gd name="T77" fmla="*/ 29762 h 357"/>
              <a:gd name="T78" fmla="*/ 199201 w 364"/>
              <a:gd name="T79" fmla="*/ 0 h 357"/>
              <a:gd name="T80" fmla="*/ 156613 w 364"/>
              <a:gd name="T81" fmla="*/ 21998 h 357"/>
              <a:gd name="T82" fmla="*/ 144249 w 364"/>
              <a:gd name="T83" fmla="*/ 41408 h 357"/>
              <a:gd name="T84" fmla="*/ 79680 w 364"/>
              <a:gd name="T85" fmla="*/ 72465 h 357"/>
              <a:gd name="T86" fmla="*/ 41214 w 364"/>
              <a:gd name="T87" fmla="*/ 72465 h 357"/>
              <a:gd name="T88" fmla="*/ 0 w 364"/>
              <a:gd name="T89" fmla="*/ 72465 h 357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4"/>
              <a:gd name="T136" fmla="*/ 0 h 357"/>
              <a:gd name="T137" fmla="*/ 364 w 364"/>
              <a:gd name="T138" fmla="*/ 357 h 357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4" h="357">
                <a:moveTo>
                  <a:pt x="0" y="80"/>
                </a:moveTo>
                <a:lnTo>
                  <a:pt x="7" y="102"/>
                </a:lnTo>
                <a:lnTo>
                  <a:pt x="15" y="119"/>
                </a:lnTo>
                <a:lnTo>
                  <a:pt x="22" y="130"/>
                </a:lnTo>
                <a:lnTo>
                  <a:pt x="31" y="132"/>
                </a:lnTo>
                <a:lnTo>
                  <a:pt x="41" y="126"/>
                </a:lnTo>
                <a:lnTo>
                  <a:pt x="46" y="115"/>
                </a:lnTo>
                <a:lnTo>
                  <a:pt x="56" y="98"/>
                </a:lnTo>
                <a:lnTo>
                  <a:pt x="69" y="108"/>
                </a:lnTo>
                <a:lnTo>
                  <a:pt x="82" y="111"/>
                </a:lnTo>
                <a:lnTo>
                  <a:pt x="91" y="117"/>
                </a:lnTo>
                <a:lnTo>
                  <a:pt x="89" y="135"/>
                </a:lnTo>
                <a:lnTo>
                  <a:pt x="89" y="147"/>
                </a:lnTo>
                <a:lnTo>
                  <a:pt x="102" y="167"/>
                </a:lnTo>
                <a:lnTo>
                  <a:pt x="117" y="184"/>
                </a:lnTo>
                <a:lnTo>
                  <a:pt x="115" y="189"/>
                </a:lnTo>
                <a:lnTo>
                  <a:pt x="98" y="189"/>
                </a:lnTo>
                <a:lnTo>
                  <a:pt x="106" y="199"/>
                </a:lnTo>
                <a:lnTo>
                  <a:pt x="156" y="256"/>
                </a:lnTo>
                <a:lnTo>
                  <a:pt x="161" y="260"/>
                </a:lnTo>
                <a:lnTo>
                  <a:pt x="176" y="260"/>
                </a:lnTo>
                <a:lnTo>
                  <a:pt x="188" y="263"/>
                </a:lnTo>
                <a:lnTo>
                  <a:pt x="210" y="273"/>
                </a:lnTo>
                <a:lnTo>
                  <a:pt x="229" y="291"/>
                </a:lnTo>
                <a:lnTo>
                  <a:pt x="233" y="299"/>
                </a:lnTo>
                <a:lnTo>
                  <a:pt x="240" y="314"/>
                </a:lnTo>
                <a:lnTo>
                  <a:pt x="246" y="313"/>
                </a:lnTo>
                <a:lnTo>
                  <a:pt x="251" y="313"/>
                </a:lnTo>
                <a:lnTo>
                  <a:pt x="266" y="319"/>
                </a:lnTo>
                <a:lnTo>
                  <a:pt x="275" y="326"/>
                </a:lnTo>
                <a:lnTo>
                  <a:pt x="303" y="357"/>
                </a:lnTo>
                <a:lnTo>
                  <a:pt x="291" y="325"/>
                </a:lnTo>
                <a:lnTo>
                  <a:pt x="284" y="313"/>
                </a:lnTo>
                <a:lnTo>
                  <a:pt x="290" y="301"/>
                </a:lnTo>
                <a:lnTo>
                  <a:pt x="286" y="291"/>
                </a:lnTo>
                <a:lnTo>
                  <a:pt x="272" y="275"/>
                </a:lnTo>
                <a:lnTo>
                  <a:pt x="246" y="245"/>
                </a:lnTo>
                <a:lnTo>
                  <a:pt x="229" y="232"/>
                </a:lnTo>
                <a:lnTo>
                  <a:pt x="223" y="226"/>
                </a:lnTo>
                <a:lnTo>
                  <a:pt x="214" y="228"/>
                </a:lnTo>
                <a:lnTo>
                  <a:pt x="201" y="217"/>
                </a:lnTo>
                <a:lnTo>
                  <a:pt x="199" y="217"/>
                </a:lnTo>
                <a:lnTo>
                  <a:pt x="192" y="210"/>
                </a:lnTo>
                <a:lnTo>
                  <a:pt x="188" y="197"/>
                </a:lnTo>
                <a:lnTo>
                  <a:pt x="184" y="184"/>
                </a:lnTo>
                <a:lnTo>
                  <a:pt x="169" y="165"/>
                </a:lnTo>
                <a:lnTo>
                  <a:pt x="139" y="134"/>
                </a:lnTo>
                <a:lnTo>
                  <a:pt x="137" y="126"/>
                </a:lnTo>
                <a:lnTo>
                  <a:pt x="139" y="122"/>
                </a:lnTo>
                <a:lnTo>
                  <a:pt x="154" y="119"/>
                </a:lnTo>
                <a:lnTo>
                  <a:pt x="196" y="132"/>
                </a:lnTo>
                <a:lnTo>
                  <a:pt x="223" y="102"/>
                </a:lnTo>
                <a:lnTo>
                  <a:pt x="246" y="121"/>
                </a:lnTo>
                <a:lnTo>
                  <a:pt x="255" y="122"/>
                </a:lnTo>
                <a:lnTo>
                  <a:pt x="260" y="130"/>
                </a:lnTo>
                <a:lnTo>
                  <a:pt x="268" y="122"/>
                </a:lnTo>
                <a:lnTo>
                  <a:pt x="283" y="122"/>
                </a:lnTo>
                <a:lnTo>
                  <a:pt x="296" y="124"/>
                </a:lnTo>
                <a:lnTo>
                  <a:pt x="314" y="115"/>
                </a:lnTo>
                <a:lnTo>
                  <a:pt x="333" y="122"/>
                </a:lnTo>
                <a:lnTo>
                  <a:pt x="344" y="132"/>
                </a:lnTo>
                <a:lnTo>
                  <a:pt x="357" y="135"/>
                </a:lnTo>
                <a:lnTo>
                  <a:pt x="358" y="126"/>
                </a:lnTo>
                <a:lnTo>
                  <a:pt x="364" y="111"/>
                </a:lnTo>
                <a:lnTo>
                  <a:pt x="357" y="104"/>
                </a:lnTo>
                <a:lnTo>
                  <a:pt x="345" y="91"/>
                </a:lnTo>
                <a:lnTo>
                  <a:pt x="344" y="78"/>
                </a:lnTo>
                <a:lnTo>
                  <a:pt x="344" y="69"/>
                </a:lnTo>
                <a:lnTo>
                  <a:pt x="345" y="58"/>
                </a:lnTo>
                <a:lnTo>
                  <a:pt x="329" y="54"/>
                </a:lnTo>
                <a:lnTo>
                  <a:pt x="321" y="52"/>
                </a:lnTo>
                <a:lnTo>
                  <a:pt x="313" y="58"/>
                </a:lnTo>
                <a:lnTo>
                  <a:pt x="303" y="65"/>
                </a:lnTo>
                <a:lnTo>
                  <a:pt x="294" y="65"/>
                </a:lnTo>
                <a:lnTo>
                  <a:pt x="279" y="50"/>
                </a:lnTo>
                <a:lnTo>
                  <a:pt x="266" y="43"/>
                </a:lnTo>
                <a:lnTo>
                  <a:pt x="253" y="45"/>
                </a:lnTo>
                <a:lnTo>
                  <a:pt x="242" y="33"/>
                </a:lnTo>
                <a:lnTo>
                  <a:pt x="212" y="2"/>
                </a:lnTo>
                <a:lnTo>
                  <a:pt x="199" y="0"/>
                </a:lnTo>
                <a:lnTo>
                  <a:pt x="178" y="26"/>
                </a:lnTo>
                <a:lnTo>
                  <a:pt x="157" y="24"/>
                </a:lnTo>
                <a:lnTo>
                  <a:pt x="148" y="33"/>
                </a:lnTo>
                <a:lnTo>
                  <a:pt x="145" y="45"/>
                </a:lnTo>
                <a:lnTo>
                  <a:pt x="106" y="87"/>
                </a:lnTo>
                <a:lnTo>
                  <a:pt x="80" y="80"/>
                </a:lnTo>
                <a:lnTo>
                  <a:pt x="54" y="74"/>
                </a:lnTo>
                <a:lnTo>
                  <a:pt x="41" y="80"/>
                </a:lnTo>
                <a:lnTo>
                  <a:pt x="24" y="87"/>
                </a:lnTo>
                <a:lnTo>
                  <a:pt x="0" y="8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5" name="Freeform 53"/>
          <p:cNvSpPr>
            <a:spLocks noChangeAspect="1"/>
          </p:cNvSpPr>
          <p:nvPr/>
        </p:nvSpPr>
        <p:spPr bwMode="auto">
          <a:xfrm>
            <a:off x="3365351" y="5499447"/>
            <a:ext cx="33338" cy="33338"/>
          </a:xfrm>
          <a:custGeom>
            <a:avLst/>
            <a:gdLst>
              <a:gd name="T0" fmla="*/ 20836 w 24"/>
              <a:gd name="T1" fmla="*/ 0 h 25"/>
              <a:gd name="T2" fmla="*/ 25004 w 24"/>
              <a:gd name="T3" fmla="*/ 8001 h 25"/>
              <a:gd name="T4" fmla="*/ 23614 w 24"/>
              <a:gd name="T5" fmla="*/ 17336 h 25"/>
              <a:gd name="T6" fmla="*/ 25004 w 24"/>
              <a:gd name="T7" fmla="*/ 22670 h 25"/>
              <a:gd name="T8" fmla="*/ 20836 w 24"/>
              <a:gd name="T9" fmla="*/ 25337 h 25"/>
              <a:gd name="T10" fmla="*/ 8335 w 24"/>
              <a:gd name="T11" fmla="*/ 22670 h 25"/>
              <a:gd name="T12" fmla="*/ 0 w 24"/>
              <a:gd name="T13" fmla="*/ 14669 h 25"/>
              <a:gd name="T14" fmla="*/ 20836 w 24"/>
              <a:gd name="T15" fmla="*/ 0 h 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4"/>
              <a:gd name="T25" fmla="*/ 0 h 25"/>
              <a:gd name="T26" fmla="*/ 24 w 24"/>
              <a:gd name="T27" fmla="*/ 25 h 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4" h="25">
                <a:moveTo>
                  <a:pt x="18" y="0"/>
                </a:moveTo>
                <a:lnTo>
                  <a:pt x="24" y="7"/>
                </a:lnTo>
                <a:lnTo>
                  <a:pt x="22" y="16"/>
                </a:lnTo>
                <a:lnTo>
                  <a:pt x="24" y="23"/>
                </a:lnTo>
                <a:lnTo>
                  <a:pt x="18" y="25"/>
                </a:lnTo>
                <a:lnTo>
                  <a:pt x="7" y="23"/>
                </a:lnTo>
                <a:lnTo>
                  <a:pt x="0" y="14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6" name="Freeform 54"/>
          <p:cNvSpPr>
            <a:spLocks noChangeAspect="1"/>
          </p:cNvSpPr>
          <p:nvPr/>
        </p:nvSpPr>
        <p:spPr bwMode="auto">
          <a:xfrm>
            <a:off x="3432026" y="5512147"/>
            <a:ext cx="254000" cy="211138"/>
          </a:xfrm>
          <a:custGeom>
            <a:avLst/>
            <a:gdLst>
              <a:gd name="T0" fmla="*/ 26228 w 184"/>
              <a:gd name="T1" fmla="*/ 5181 h 163"/>
              <a:gd name="T2" fmla="*/ 17946 w 184"/>
              <a:gd name="T3" fmla="*/ 10363 h 163"/>
              <a:gd name="T4" fmla="*/ 19326 w 184"/>
              <a:gd name="T5" fmla="*/ 18135 h 163"/>
              <a:gd name="T6" fmla="*/ 11043 w 184"/>
              <a:gd name="T7" fmla="*/ 28497 h 163"/>
              <a:gd name="T8" fmla="*/ 5522 w 184"/>
              <a:gd name="T9" fmla="*/ 27202 h 163"/>
              <a:gd name="T10" fmla="*/ 0 w 184"/>
              <a:gd name="T11" fmla="*/ 32383 h 163"/>
              <a:gd name="T12" fmla="*/ 2761 w 184"/>
              <a:gd name="T13" fmla="*/ 42746 h 163"/>
              <a:gd name="T14" fmla="*/ 31750 w 184"/>
              <a:gd name="T15" fmla="*/ 53108 h 163"/>
              <a:gd name="T16" fmla="*/ 40033 w 184"/>
              <a:gd name="T17" fmla="*/ 75129 h 163"/>
              <a:gd name="T18" fmla="*/ 48315 w 184"/>
              <a:gd name="T19" fmla="*/ 104921 h 163"/>
              <a:gd name="T20" fmla="*/ 59359 w 184"/>
              <a:gd name="T21" fmla="*/ 120465 h 163"/>
              <a:gd name="T22" fmla="*/ 73163 w 184"/>
              <a:gd name="T23" fmla="*/ 111398 h 163"/>
              <a:gd name="T24" fmla="*/ 89728 w 184"/>
              <a:gd name="T25" fmla="*/ 130828 h 163"/>
              <a:gd name="T26" fmla="*/ 107674 w 184"/>
              <a:gd name="T27" fmla="*/ 151553 h 163"/>
              <a:gd name="T28" fmla="*/ 114576 w 184"/>
              <a:gd name="T29" fmla="*/ 136009 h 163"/>
              <a:gd name="T30" fmla="*/ 109054 w 184"/>
              <a:gd name="T31" fmla="*/ 125647 h 163"/>
              <a:gd name="T32" fmla="*/ 117337 w 184"/>
              <a:gd name="T33" fmla="*/ 120465 h 163"/>
              <a:gd name="T34" fmla="*/ 143565 w 184"/>
              <a:gd name="T35" fmla="*/ 138600 h 163"/>
              <a:gd name="T36" fmla="*/ 150467 w 184"/>
              <a:gd name="T37" fmla="*/ 134714 h 163"/>
              <a:gd name="T38" fmla="*/ 153228 w 184"/>
              <a:gd name="T39" fmla="*/ 128237 h 163"/>
              <a:gd name="T40" fmla="*/ 140804 w 184"/>
              <a:gd name="T41" fmla="*/ 103626 h 163"/>
              <a:gd name="T42" fmla="*/ 140804 w 184"/>
              <a:gd name="T43" fmla="*/ 98445 h 163"/>
              <a:gd name="T44" fmla="*/ 128380 w 184"/>
              <a:gd name="T45" fmla="*/ 79015 h 163"/>
              <a:gd name="T46" fmla="*/ 121478 w 184"/>
              <a:gd name="T47" fmla="*/ 64766 h 163"/>
              <a:gd name="T48" fmla="*/ 128380 w 184"/>
              <a:gd name="T49" fmla="*/ 64766 h 163"/>
              <a:gd name="T50" fmla="*/ 143565 w 184"/>
              <a:gd name="T51" fmla="*/ 66062 h 163"/>
              <a:gd name="T52" fmla="*/ 160130 w 184"/>
              <a:gd name="T53" fmla="*/ 81605 h 163"/>
              <a:gd name="T54" fmla="*/ 169793 w 184"/>
              <a:gd name="T55" fmla="*/ 71243 h 163"/>
              <a:gd name="T56" fmla="*/ 184978 w 184"/>
              <a:gd name="T57" fmla="*/ 72538 h 163"/>
              <a:gd name="T58" fmla="*/ 186359 w 184"/>
              <a:gd name="T59" fmla="*/ 68652 h 163"/>
              <a:gd name="T60" fmla="*/ 167033 w 184"/>
              <a:gd name="T61" fmla="*/ 46632 h 163"/>
              <a:gd name="T62" fmla="*/ 153228 w 184"/>
              <a:gd name="T63" fmla="*/ 49222 h 163"/>
              <a:gd name="T64" fmla="*/ 149087 w 184"/>
              <a:gd name="T65" fmla="*/ 40155 h 163"/>
              <a:gd name="T66" fmla="*/ 140804 w 184"/>
              <a:gd name="T67" fmla="*/ 24611 h 163"/>
              <a:gd name="T68" fmla="*/ 132522 w 184"/>
              <a:gd name="T69" fmla="*/ 31088 h 163"/>
              <a:gd name="T70" fmla="*/ 113196 w 184"/>
              <a:gd name="T71" fmla="*/ 24611 h 163"/>
              <a:gd name="T72" fmla="*/ 100772 w 184"/>
              <a:gd name="T73" fmla="*/ 5181 h 163"/>
              <a:gd name="T74" fmla="*/ 78685 w 184"/>
              <a:gd name="T75" fmla="*/ 7772 h 163"/>
              <a:gd name="T76" fmla="*/ 62120 w 184"/>
              <a:gd name="T77" fmla="*/ 10363 h 163"/>
              <a:gd name="T78" fmla="*/ 51076 w 184"/>
              <a:gd name="T79" fmla="*/ 0 h 163"/>
              <a:gd name="T80" fmla="*/ 41413 w 184"/>
              <a:gd name="T81" fmla="*/ 5181 h 163"/>
              <a:gd name="T82" fmla="*/ 26228 w 184"/>
              <a:gd name="T83" fmla="*/ 5181 h 16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4"/>
              <a:gd name="T127" fmla="*/ 0 h 163"/>
              <a:gd name="T128" fmla="*/ 184 w 184"/>
              <a:gd name="T129" fmla="*/ 163 h 16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4" h="163">
                <a:moveTo>
                  <a:pt x="26" y="7"/>
                </a:moveTo>
                <a:lnTo>
                  <a:pt x="17" y="11"/>
                </a:lnTo>
                <a:lnTo>
                  <a:pt x="20" y="20"/>
                </a:lnTo>
                <a:lnTo>
                  <a:pt x="11" y="31"/>
                </a:lnTo>
                <a:lnTo>
                  <a:pt x="4" y="30"/>
                </a:lnTo>
                <a:lnTo>
                  <a:pt x="0" y="35"/>
                </a:lnTo>
                <a:lnTo>
                  <a:pt x="2" y="46"/>
                </a:lnTo>
                <a:lnTo>
                  <a:pt x="32" y="57"/>
                </a:lnTo>
                <a:lnTo>
                  <a:pt x="39" y="82"/>
                </a:lnTo>
                <a:lnTo>
                  <a:pt x="48" y="113"/>
                </a:lnTo>
                <a:lnTo>
                  <a:pt x="59" y="130"/>
                </a:lnTo>
                <a:lnTo>
                  <a:pt x="72" y="119"/>
                </a:lnTo>
                <a:lnTo>
                  <a:pt x="89" y="141"/>
                </a:lnTo>
                <a:lnTo>
                  <a:pt x="106" y="163"/>
                </a:lnTo>
                <a:lnTo>
                  <a:pt x="113" y="146"/>
                </a:lnTo>
                <a:lnTo>
                  <a:pt x="108" y="135"/>
                </a:lnTo>
                <a:lnTo>
                  <a:pt x="115" y="130"/>
                </a:lnTo>
                <a:lnTo>
                  <a:pt x="141" y="150"/>
                </a:lnTo>
                <a:lnTo>
                  <a:pt x="149" y="144"/>
                </a:lnTo>
                <a:lnTo>
                  <a:pt x="151" y="137"/>
                </a:lnTo>
                <a:lnTo>
                  <a:pt x="138" y="111"/>
                </a:lnTo>
                <a:lnTo>
                  <a:pt x="138" y="106"/>
                </a:lnTo>
                <a:lnTo>
                  <a:pt x="126" y="85"/>
                </a:lnTo>
                <a:lnTo>
                  <a:pt x="121" y="70"/>
                </a:lnTo>
                <a:lnTo>
                  <a:pt x="126" y="69"/>
                </a:lnTo>
                <a:lnTo>
                  <a:pt x="141" y="72"/>
                </a:lnTo>
                <a:lnTo>
                  <a:pt x="158" y="87"/>
                </a:lnTo>
                <a:lnTo>
                  <a:pt x="167" y="76"/>
                </a:lnTo>
                <a:lnTo>
                  <a:pt x="182" y="78"/>
                </a:lnTo>
                <a:lnTo>
                  <a:pt x="184" y="74"/>
                </a:lnTo>
                <a:lnTo>
                  <a:pt x="165" y="50"/>
                </a:lnTo>
                <a:lnTo>
                  <a:pt x="151" y="52"/>
                </a:lnTo>
                <a:lnTo>
                  <a:pt x="147" y="44"/>
                </a:lnTo>
                <a:lnTo>
                  <a:pt x="138" y="26"/>
                </a:lnTo>
                <a:lnTo>
                  <a:pt x="130" y="33"/>
                </a:lnTo>
                <a:lnTo>
                  <a:pt x="112" y="26"/>
                </a:lnTo>
                <a:lnTo>
                  <a:pt x="100" y="7"/>
                </a:lnTo>
                <a:lnTo>
                  <a:pt x="78" y="9"/>
                </a:lnTo>
                <a:lnTo>
                  <a:pt x="61" y="11"/>
                </a:lnTo>
                <a:lnTo>
                  <a:pt x="50" y="0"/>
                </a:lnTo>
                <a:lnTo>
                  <a:pt x="41" y="6"/>
                </a:lnTo>
                <a:lnTo>
                  <a:pt x="26" y="7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7" name="Freeform 55"/>
          <p:cNvSpPr>
            <a:spLocks noChangeAspect="1"/>
          </p:cNvSpPr>
          <p:nvPr/>
        </p:nvSpPr>
        <p:spPr bwMode="auto">
          <a:xfrm>
            <a:off x="3347889" y="5085110"/>
            <a:ext cx="590550" cy="501650"/>
          </a:xfrm>
          <a:custGeom>
            <a:avLst/>
            <a:gdLst>
              <a:gd name="T0" fmla="*/ 78282 w 430"/>
              <a:gd name="T1" fmla="*/ 96171 h 386"/>
              <a:gd name="T2" fmla="*/ 53562 w 430"/>
              <a:gd name="T3" fmla="*/ 155953 h 386"/>
              <a:gd name="T4" fmla="*/ 42575 w 430"/>
              <a:gd name="T5" fmla="*/ 170249 h 386"/>
              <a:gd name="T6" fmla="*/ 24721 w 430"/>
              <a:gd name="T7" fmla="*/ 185844 h 386"/>
              <a:gd name="T8" fmla="*/ 0 w 430"/>
              <a:gd name="T9" fmla="*/ 191043 h 386"/>
              <a:gd name="T10" fmla="*/ 30214 w 430"/>
              <a:gd name="T11" fmla="*/ 243027 h 386"/>
              <a:gd name="T12" fmla="*/ 56308 w 430"/>
              <a:gd name="T13" fmla="*/ 243027 h 386"/>
              <a:gd name="T14" fmla="*/ 48068 w 430"/>
              <a:gd name="T15" fmla="*/ 259922 h 386"/>
              <a:gd name="T16" fmla="*/ 56308 w 430"/>
              <a:gd name="T17" fmla="*/ 287214 h 386"/>
              <a:gd name="T18" fmla="*/ 75535 w 430"/>
              <a:gd name="T19" fmla="*/ 309307 h 386"/>
              <a:gd name="T20" fmla="*/ 90643 w 430"/>
              <a:gd name="T21" fmla="*/ 297611 h 386"/>
              <a:gd name="T22" fmla="*/ 105750 w 430"/>
              <a:gd name="T23" fmla="*/ 297611 h 386"/>
              <a:gd name="T24" fmla="*/ 157938 w 430"/>
              <a:gd name="T25" fmla="*/ 304109 h 386"/>
              <a:gd name="T26" fmla="*/ 189525 w 430"/>
              <a:gd name="T27" fmla="*/ 319704 h 386"/>
              <a:gd name="T28" fmla="*/ 206006 w 430"/>
              <a:gd name="T29" fmla="*/ 337899 h 386"/>
              <a:gd name="T30" fmla="*/ 227980 w 430"/>
              <a:gd name="T31" fmla="*/ 330101 h 386"/>
              <a:gd name="T32" fmla="*/ 269181 w 430"/>
              <a:gd name="T33" fmla="*/ 361292 h 386"/>
              <a:gd name="T34" fmla="*/ 276048 w 430"/>
              <a:gd name="T35" fmla="*/ 343097 h 386"/>
              <a:gd name="T36" fmla="*/ 276048 w 430"/>
              <a:gd name="T37" fmla="*/ 314506 h 386"/>
              <a:gd name="T38" fmla="*/ 256821 w 430"/>
              <a:gd name="T39" fmla="*/ 302809 h 386"/>
              <a:gd name="T40" fmla="*/ 212873 w 430"/>
              <a:gd name="T41" fmla="*/ 275518 h 386"/>
              <a:gd name="T42" fmla="*/ 188152 w 430"/>
              <a:gd name="T43" fmla="*/ 266420 h 386"/>
              <a:gd name="T44" fmla="*/ 178538 w 430"/>
              <a:gd name="T45" fmla="*/ 256023 h 386"/>
              <a:gd name="T46" fmla="*/ 192272 w 430"/>
              <a:gd name="T47" fmla="*/ 241728 h 386"/>
              <a:gd name="T48" fmla="*/ 181285 w 430"/>
              <a:gd name="T49" fmla="*/ 220934 h 386"/>
              <a:gd name="T50" fmla="*/ 199139 w 430"/>
              <a:gd name="T51" fmla="*/ 230031 h 386"/>
              <a:gd name="T52" fmla="*/ 212873 w 430"/>
              <a:gd name="T53" fmla="*/ 222234 h 386"/>
              <a:gd name="T54" fmla="*/ 189525 w 430"/>
              <a:gd name="T55" fmla="*/ 188444 h 386"/>
              <a:gd name="T56" fmla="*/ 168925 w 430"/>
              <a:gd name="T57" fmla="*/ 149455 h 386"/>
              <a:gd name="T58" fmla="*/ 163431 w 430"/>
              <a:gd name="T59" fmla="*/ 126062 h 386"/>
              <a:gd name="T60" fmla="*/ 174418 w 430"/>
              <a:gd name="T61" fmla="*/ 109167 h 386"/>
              <a:gd name="T62" fmla="*/ 184032 w 430"/>
              <a:gd name="T63" fmla="*/ 129961 h 386"/>
              <a:gd name="T64" fmla="*/ 189525 w 430"/>
              <a:gd name="T65" fmla="*/ 137759 h 386"/>
              <a:gd name="T66" fmla="*/ 225233 w 430"/>
              <a:gd name="T67" fmla="*/ 165051 h 386"/>
              <a:gd name="T68" fmla="*/ 229353 w 430"/>
              <a:gd name="T69" fmla="*/ 145556 h 386"/>
              <a:gd name="T70" fmla="*/ 255447 w 430"/>
              <a:gd name="T71" fmla="*/ 165051 h 386"/>
              <a:gd name="T72" fmla="*/ 244460 w 430"/>
              <a:gd name="T73" fmla="*/ 141658 h 386"/>
              <a:gd name="T74" fmla="*/ 255447 w 430"/>
              <a:gd name="T75" fmla="*/ 131261 h 386"/>
              <a:gd name="T76" fmla="*/ 285661 w 430"/>
              <a:gd name="T77" fmla="*/ 139058 h 386"/>
              <a:gd name="T78" fmla="*/ 273301 w 430"/>
              <a:gd name="T79" fmla="*/ 122163 h 386"/>
              <a:gd name="T80" fmla="*/ 244460 w 430"/>
              <a:gd name="T81" fmla="*/ 106568 h 386"/>
              <a:gd name="T82" fmla="*/ 247207 w 430"/>
              <a:gd name="T83" fmla="*/ 92272 h 386"/>
              <a:gd name="T84" fmla="*/ 296648 w 430"/>
              <a:gd name="T85" fmla="*/ 81876 h 386"/>
              <a:gd name="T86" fmla="*/ 347463 w 430"/>
              <a:gd name="T87" fmla="*/ 76677 h 386"/>
              <a:gd name="T88" fmla="*/ 374931 w 430"/>
              <a:gd name="T89" fmla="*/ 81876 h 386"/>
              <a:gd name="T90" fmla="*/ 403771 w 430"/>
              <a:gd name="T91" fmla="*/ 71479 h 386"/>
              <a:gd name="T92" fmla="*/ 425745 w 430"/>
              <a:gd name="T93" fmla="*/ 45486 h 386"/>
              <a:gd name="T94" fmla="*/ 425745 w 430"/>
              <a:gd name="T95" fmla="*/ 5198 h 386"/>
              <a:gd name="T96" fmla="*/ 405145 w 430"/>
              <a:gd name="T97" fmla="*/ 0 h 386"/>
              <a:gd name="T98" fmla="*/ 399651 w 430"/>
              <a:gd name="T99" fmla="*/ 18195 h 386"/>
              <a:gd name="T100" fmla="*/ 385918 w 430"/>
              <a:gd name="T101" fmla="*/ 32490 h 386"/>
              <a:gd name="T102" fmla="*/ 368064 w 430"/>
              <a:gd name="T103" fmla="*/ 41588 h 386"/>
              <a:gd name="T104" fmla="*/ 335103 w 430"/>
              <a:gd name="T105" fmla="*/ 31191 h 386"/>
              <a:gd name="T106" fmla="*/ 304889 w 430"/>
              <a:gd name="T107" fmla="*/ 18195 h 386"/>
              <a:gd name="T108" fmla="*/ 269181 w 430"/>
              <a:gd name="T109" fmla="*/ 41588 h 386"/>
              <a:gd name="T110" fmla="*/ 229353 w 430"/>
              <a:gd name="T111" fmla="*/ 51984 h 386"/>
              <a:gd name="T112" fmla="*/ 199139 w 430"/>
              <a:gd name="T113" fmla="*/ 57183 h 386"/>
              <a:gd name="T114" fmla="*/ 181285 w 430"/>
              <a:gd name="T115" fmla="*/ 72778 h 386"/>
              <a:gd name="T116" fmla="*/ 151071 w 430"/>
              <a:gd name="T117" fmla="*/ 76677 h 386"/>
              <a:gd name="T118" fmla="*/ 124977 w 430"/>
              <a:gd name="T119" fmla="*/ 90973 h 386"/>
              <a:gd name="T120" fmla="*/ 97509 w 430"/>
              <a:gd name="T121" fmla="*/ 90973 h 38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30"/>
              <a:gd name="T184" fmla="*/ 0 h 386"/>
              <a:gd name="T185" fmla="*/ 430 w 430"/>
              <a:gd name="T186" fmla="*/ 386 h 38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30" h="386">
                <a:moveTo>
                  <a:pt x="87" y="95"/>
                </a:moveTo>
                <a:lnTo>
                  <a:pt x="78" y="102"/>
                </a:lnTo>
                <a:lnTo>
                  <a:pt x="68" y="135"/>
                </a:lnTo>
                <a:lnTo>
                  <a:pt x="55" y="167"/>
                </a:lnTo>
                <a:lnTo>
                  <a:pt x="50" y="171"/>
                </a:lnTo>
                <a:lnTo>
                  <a:pt x="44" y="182"/>
                </a:lnTo>
                <a:lnTo>
                  <a:pt x="37" y="193"/>
                </a:lnTo>
                <a:lnTo>
                  <a:pt x="24" y="200"/>
                </a:lnTo>
                <a:lnTo>
                  <a:pt x="13" y="204"/>
                </a:lnTo>
                <a:lnTo>
                  <a:pt x="0" y="204"/>
                </a:lnTo>
                <a:lnTo>
                  <a:pt x="17" y="241"/>
                </a:lnTo>
                <a:lnTo>
                  <a:pt x="31" y="260"/>
                </a:lnTo>
                <a:lnTo>
                  <a:pt x="44" y="260"/>
                </a:lnTo>
                <a:lnTo>
                  <a:pt x="57" y="260"/>
                </a:lnTo>
                <a:lnTo>
                  <a:pt x="61" y="269"/>
                </a:lnTo>
                <a:lnTo>
                  <a:pt x="48" y="278"/>
                </a:lnTo>
                <a:lnTo>
                  <a:pt x="48" y="290"/>
                </a:lnTo>
                <a:lnTo>
                  <a:pt x="57" y="308"/>
                </a:lnTo>
                <a:lnTo>
                  <a:pt x="68" y="323"/>
                </a:lnTo>
                <a:lnTo>
                  <a:pt x="76" y="330"/>
                </a:lnTo>
                <a:lnTo>
                  <a:pt x="80" y="319"/>
                </a:lnTo>
                <a:lnTo>
                  <a:pt x="91" y="317"/>
                </a:lnTo>
                <a:lnTo>
                  <a:pt x="104" y="328"/>
                </a:lnTo>
                <a:lnTo>
                  <a:pt x="107" y="319"/>
                </a:lnTo>
                <a:lnTo>
                  <a:pt x="128" y="321"/>
                </a:lnTo>
                <a:lnTo>
                  <a:pt x="159" y="325"/>
                </a:lnTo>
                <a:lnTo>
                  <a:pt x="181" y="332"/>
                </a:lnTo>
                <a:lnTo>
                  <a:pt x="190" y="341"/>
                </a:lnTo>
                <a:lnTo>
                  <a:pt x="200" y="354"/>
                </a:lnTo>
                <a:lnTo>
                  <a:pt x="207" y="362"/>
                </a:lnTo>
                <a:lnTo>
                  <a:pt x="216" y="354"/>
                </a:lnTo>
                <a:lnTo>
                  <a:pt x="229" y="353"/>
                </a:lnTo>
                <a:lnTo>
                  <a:pt x="248" y="366"/>
                </a:lnTo>
                <a:lnTo>
                  <a:pt x="271" y="386"/>
                </a:lnTo>
                <a:lnTo>
                  <a:pt x="277" y="382"/>
                </a:lnTo>
                <a:lnTo>
                  <a:pt x="278" y="367"/>
                </a:lnTo>
                <a:lnTo>
                  <a:pt x="278" y="351"/>
                </a:lnTo>
                <a:lnTo>
                  <a:pt x="277" y="336"/>
                </a:lnTo>
                <a:lnTo>
                  <a:pt x="266" y="319"/>
                </a:lnTo>
                <a:lnTo>
                  <a:pt x="259" y="323"/>
                </a:lnTo>
                <a:lnTo>
                  <a:pt x="242" y="315"/>
                </a:lnTo>
                <a:lnTo>
                  <a:pt x="215" y="295"/>
                </a:lnTo>
                <a:lnTo>
                  <a:pt x="207" y="288"/>
                </a:lnTo>
                <a:lnTo>
                  <a:pt x="189" y="286"/>
                </a:lnTo>
                <a:lnTo>
                  <a:pt x="179" y="280"/>
                </a:lnTo>
                <a:lnTo>
                  <a:pt x="179" y="273"/>
                </a:lnTo>
                <a:lnTo>
                  <a:pt x="190" y="262"/>
                </a:lnTo>
                <a:lnTo>
                  <a:pt x="194" y="258"/>
                </a:lnTo>
                <a:lnTo>
                  <a:pt x="187" y="249"/>
                </a:lnTo>
                <a:lnTo>
                  <a:pt x="183" y="236"/>
                </a:lnTo>
                <a:lnTo>
                  <a:pt x="187" y="230"/>
                </a:lnTo>
                <a:lnTo>
                  <a:pt x="202" y="245"/>
                </a:lnTo>
                <a:lnTo>
                  <a:pt x="215" y="251"/>
                </a:lnTo>
                <a:lnTo>
                  <a:pt x="215" y="238"/>
                </a:lnTo>
                <a:lnTo>
                  <a:pt x="207" y="223"/>
                </a:lnTo>
                <a:lnTo>
                  <a:pt x="190" y="202"/>
                </a:lnTo>
                <a:lnTo>
                  <a:pt x="172" y="174"/>
                </a:lnTo>
                <a:lnTo>
                  <a:pt x="170" y="160"/>
                </a:lnTo>
                <a:lnTo>
                  <a:pt x="168" y="147"/>
                </a:lnTo>
                <a:lnTo>
                  <a:pt x="165" y="134"/>
                </a:lnTo>
                <a:lnTo>
                  <a:pt x="163" y="121"/>
                </a:lnTo>
                <a:lnTo>
                  <a:pt x="176" y="117"/>
                </a:lnTo>
                <a:lnTo>
                  <a:pt x="174" y="126"/>
                </a:lnTo>
                <a:lnTo>
                  <a:pt x="185" y="139"/>
                </a:lnTo>
                <a:lnTo>
                  <a:pt x="192" y="139"/>
                </a:lnTo>
                <a:lnTo>
                  <a:pt x="190" y="147"/>
                </a:lnTo>
                <a:lnTo>
                  <a:pt x="226" y="182"/>
                </a:lnTo>
                <a:lnTo>
                  <a:pt x="227" y="176"/>
                </a:lnTo>
                <a:lnTo>
                  <a:pt x="220" y="160"/>
                </a:lnTo>
                <a:lnTo>
                  <a:pt x="231" y="156"/>
                </a:lnTo>
                <a:lnTo>
                  <a:pt x="248" y="163"/>
                </a:lnTo>
                <a:lnTo>
                  <a:pt x="257" y="176"/>
                </a:lnTo>
                <a:lnTo>
                  <a:pt x="259" y="167"/>
                </a:lnTo>
                <a:lnTo>
                  <a:pt x="246" y="152"/>
                </a:lnTo>
                <a:lnTo>
                  <a:pt x="248" y="145"/>
                </a:lnTo>
                <a:lnTo>
                  <a:pt x="257" y="141"/>
                </a:lnTo>
                <a:lnTo>
                  <a:pt x="282" y="152"/>
                </a:lnTo>
                <a:lnTo>
                  <a:pt x="288" y="148"/>
                </a:lnTo>
                <a:lnTo>
                  <a:pt x="286" y="137"/>
                </a:lnTo>
                <a:lnTo>
                  <a:pt x="275" y="130"/>
                </a:lnTo>
                <a:lnTo>
                  <a:pt x="257" y="122"/>
                </a:lnTo>
                <a:lnTo>
                  <a:pt x="246" y="113"/>
                </a:lnTo>
                <a:lnTo>
                  <a:pt x="244" y="106"/>
                </a:lnTo>
                <a:lnTo>
                  <a:pt x="248" y="98"/>
                </a:lnTo>
                <a:lnTo>
                  <a:pt x="273" y="95"/>
                </a:lnTo>
                <a:lnTo>
                  <a:pt x="299" y="87"/>
                </a:lnTo>
                <a:lnTo>
                  <a:pt x="317" y="89"/>
                </a:lnTo>
                <a:lnTo>
                  <a:pt x="350" y="82"/>
                </a:lnTo>
                <a:lnTo>
                  <a:pt x="356" y="78"/>
                </a:lnTo>
                <a:lnTo>
                  <a:pt x="378" y="87"/>
                </a:lnTo>
                <a:lnTo>
                  <a:pt x="397" y="97"/>
                </a:lnTo>
                <a:lnTo>
                  <a:pt x="406" y="76"/>
                </a:lnTo>
                <a:lnTo>
                  <a:pt x="423" y="54"/>
                </a:lnTo>
                <a:lnTo>
                  <a:pt x="428" y="48"/>
                </a:lnTo>
                <a:lnTo>
                  <a:pt x="430" y="9"/>
                </a:lnTo>
                <a:lnTo>
                  <a:pt x="428" y="6"/>
                </a:lnTo>
                <a:lnTo>
                  <a:pt x="419" y="0"/>
                </a:lnTo>
                <a:lnTo>
                  <a:pt x="408" y="0"/>
                </a:lnTo>
                <a:lnTo>
                  <a:pt x="402" y="6"/>
                </a:lnTo>
                <a:lnTo>
                  <a:pt x="402" y="20"/>
                </a:lnTo>
                <a:lnTo>
                  <a:pt x="404" y="32"/>
                </a:lnTo>
                <a:lnTo>
                  <a:pt x="389" y="35"/>
                </a:lnTo>
                <a:lnTo>
                  <a:pt x="378" y="43"/>
                </a:lnTo>
                <a:lnTo>
                  <a:pt x="371" y="45"/>
                </a:lnTo>
                <a:lnTo>
                  <a:pt x="347" y="39"/>
                </a:lnTo>
                <a:lnTo>
                  <a:pt x="338" y="33"/>
                </a:lnTo>
                <a:lnTo>
                  <a:pt x="325" y="41"/>
                </a:lnTo>
                <a:lnTo>
                  <a:pt x="306" y="20"/>
                </a:lnTo>
                <a:lnTo>
                  <a:pt x="286" y="35"/>
                </a:lnTo>
                <a:lnTo>
                  <a:pt x="271" y="45"/>
                </a:lnTo>
                <a:lnTo>
                  <a:pt x="255" y="52"/>
                </a:lnTo>
                <a:lnTo>
                  <a:pt x="231" y="56"/>
                </a:lnTo>
                <a:lnTo>
                  <a:pt x="215" y="61"/>
                </a:lnTo>
                <a:lnTo>
                  <a:pt x="202" y="61"/>
                </a:lnTo>
                <a:lnTo>
                  <a:pt x="196" y="63"/>
                </a:lnTo>
                <a:lnTo>
                  <a:pt x="183" y="78"/>
                </a:lnTo>
                <a:lnTo>
                  <a:pt x="172" y="78"/>
                </a:lnTo>
                <a:lnTo>
                  <a:pt x="153" y="82"/>
                </a:lnTo>
                <a:lnTo>
                  <a:pt x="135" y="80"/>
                </a:lnTo>
                <a:lnTo>
                  <a:pt x="126" y="97"/>
                </a:lnTo>
                <a:lnTo>
                  <a:pt x="111" y="98"/>
                </a:lnTo>
                <a:lnTo>
                  <a:pt x="98" y="97"/>
                </a:lnTo>
                <a:lnTo>
                  <a:pt x="87" y="95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8" name="Freeform 56"/>
          <p:cNvSpPr>
            <a:spLocks noChangeAspect="1"/>
          </p:cNvSpPr>
          <p:nvPr/>
        </p:nvSpPr>
        <p:spPr bwMode="auto">
          <a:xfrm>
            <a:off x="3641576" y="5428010"/>
            <a:ext cx="147638" cy="112712"/>
          </a:xfrm>
          <a:custGeom>
            <a:avLst/>
            <a:gdLst>
              <a:gd name="T0" fmla="*/ 8279 w 107"/>
              <a:gd name="T1" fmla="*/ 0 h 87"/>
              <a:gd name="T2" fmla="*/ 0 w 107"/>
              <a:gd name="T3" fmla="*/ 5182 h 87"/>
              <a:gd name="T4" fmla="*/ 11038 w 107"/>
              <a:gd name="T5" fmla="*/ 24615 h 87"/>
              <a:gd name="T6" fmla="*/ 24836 w 107"/>
              <a:gd name="T7" fmla="*/ 28502 h 87"/>
              <a:gd name="T8" fmla="*/ 38634 w 107"/>
              <a:gd name="T9" fmla="*/ 42753 h 87"/>
              <a:gd name="T10" fmla="*/ 52432 w 107"/>
              <a:gd name="T11" fmla="*/ 50526 h 87"/>
              <a:gd name="T12" fmla="*/ 73129 w 107"/>
              <a:gd name="T13" fmla="*/ 64777 h 87"/>
              <a:gd name="T14" fmla="*/ 86927 w 107"/>
              <a:gd name="T15" fmla="*/ 71255 h 87"/>
              <a:gd name="T16" fmla="*/ 102105 w 107"/>
              <a:gd name="T17" fmla="*/ 81619 h 87"/>
              <a:gd name="T18" fmla="*/ 106244 w 107"/>
              <a:gd name="T19" fmla="*/ 75141 h 87"/>
              <a:gd name="T20" fmla="*/ 73129 w 107"/>
              <a:gd name="T21" fmla="*/ 51822 h 87"/>
              <a:gd name="T22" fmla="*/ 71749 w 107"/>
              <a:gd name="T23" fmla="*/ 40162 h 87"/>
              <a:gd name="T24" fmla="*/ 67610 w 107"/>
              <a:gd name="T25" fmla="*/ 31093 h 87"/>
              <a:gd name="T26" fmla="*/ 53812 w 107"/>
              <a:gd name="T27" fmla="*/ 18138 h 87"/>
              <a:gd name="T28" fmla="*/ 49673 w 107"/>
              <a:gd name="T29" fmla="*/ 20729 h 87"/>
              <a:gd name="T30" fmla="*/ 31735 w 107"/>
              <a:gd name="T31" fmla="*/ 7773 h 87"/>
              <a:gd name="T32" fmla="*/ 22077 w 107"/>
              <a:gd name="T33" fmla="*/ 5182 h 87"/>
              <a:gd name="T34" fmla="*/ 8279 w 107"/>
              <a:gd name="T35" fmla="*/ 0 h 8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7"/>
              <a:gd name="T55" fmla="*/ 0 h 87"/>
              <a:gd name="T56" fmla="*/ 107 w 107"/>
              <a:gd name="T57" fmla="*/ 87 h 8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7" h="87">
                <a:moveTo>
                  <a:pt x="9" y="0"/>
                </a:moveTo>
                <a:lnTo>
                  <a:pt x="0" y="7"/>
                </a:lnTo>
                <a:lnTo>
                  <a:pt x="11" y="26"/>
                </a:lnTo>
                <a:lnTo>
                  <a:pt x="24" y="30"/>
                </a:lnTo>
                <a:lnTo>
                  <a:pt x="39" y="46"/>
                </a:lnTo>
                <a:lnTo>
                  <a:pt x="52" y="54"/>
                </a:lnTo>
                <a:lnTo>
                  <a:pt x="74" y="70"/>
                </a:lnTo>
                <a:lnTo>
                  <a:pt x="87" y="76"/>
                </a:lnTo>
                <a:lnTo>
                  <a:pt x="103" y="87"/>
                </a:lnTo>
                <a:lnTo>
                  <a:pt x="107" y="81"/>
                </a:lnTo>
                <a:lnTo>
                  <a:pt x="74" y="56"/>
                </a:lnTo>
                <a:lnTo>
                  <a:pt x="72" y="44"/>
                </a:lnTo>
                <a:lnTo>
                  <a:pt x="68" y="33"/>
                </a:lnTo>
                <a:lnTo>
                  <a:pt x="54" y="20"/>
                </a:lnTo>
                <a:lnTo>
                  <a:pt x="50" y="22"/>
                </a:lnTo>
                <a:lnTo>
                  <a:pt x="32" y="9"/>
                </a:lnTo>
                <a:lnTo>
                  <a:pt x="22" y="4"/>
                </a:lnTo>
                <a:lnTo>
                  <a:pt x="9" y="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49" name="Freeform 57"/>
          <p:cNvSpPr>
            <a:spLocks noChangeAspect="1"/>
          </p:cNvSpPr>
          <p:nvPr/>
        </p:nvSpPr>
        <p:spPr bwMode="auto">
          <a:xfrm>
            <a:off x="3689201" y="5807422"/>
            <a:ext cx="276225" cy="69850"/>
          </a:xfrm>
          <a:custGeom>
            <a:avLst/>
            <a:gdLst>
              <a:gd name="T0" fmla="*/ 41228 w 201"/>
              <a:gd name="T1" fmla="*/ 10348 h 54"/>
              <a:gd name="T2" fmla="*/ 56344 w 201"/>
              <a:gd name="T3" fmla="*/ 5174 h 54"/>
              <a:gd name="T4" fmla="*/ 63216 w 201"/>
              <a:gd name="T5" fmla="*/ 10348 h 54"/>
              <a:gd name="T6" fmla="*/ 68713 w 201"/>
              <a:gd name="T7" fmla="*/ 12935 h 54"/>
              <a:gd name="T8" fmla="*/ 79707 w 201"/>
              <a:gd name="T9" fmla="*/ 5174 h 54"/>
              <a:gd name="T10" fmla="*/ 87952 w 201"/>
              <a:gd name="T11" fmla="*/ 5174 h 54"/>
              <a:gd name="T12" fmla="*/ 118186 w 201"/>
              <a:gd name="T13" fmla="*/ 5174 h 54"/>
              <a:gd name="T14" fmla="*/ 148419 w 201"/>
              <a:gd name="T15" fmla="*/ 5174 h 54"/>
              <a:gd name="T16" fmla="*/ 158039 w 201"/>
              <a:gd name="T17" fmla="*/ 14229 h 54"/>
              <a:gd name="T18" fmla="*/ 158039 w 201"/>
              <a:gd name="T19" fmla="*/ 18109 h 54"/>
              <a:gd name="T20" fmla="*/ 180027 w 201"/>
              <a:gd name="T21" fmla="*/ 15522 h 54"/>
              <a:gd name="T22" fmla="*/ 192396 w 201"/>
              <a:gd name="T23" fmla="*/ 16816 h 54"/>
              <a:gd name="T24" fmla="*/ 197893 w 201"/>
              <a:gd name="T25" fmla="*/ 23283 h 54"/>
              <a:gd name="T26" fmla="*/ 192396 w 201"/>
              <a:gd name="T27" fmla="*/ 32338 h 54"/>
              <a:gd name="T28" fmla="*/ 173156 w 201"/>
              <a:gd name="T29" fmla="*/ 31044 h 54"/>
              <a:gd name="T30" fmla="*/ 159413 w 201"/>
              <a:gd name="T31" fmla="*/ 36219 h 54"/>
              <a:gd name="T32" fmla="*/ 137425 w 201"/>
              <a:gd name="T33" fmla="*/ 36219 h 54"/>
              <a:gd name="T34" fmla="*/ 116812 w 201"/>
              <a:gd name="T35" fmla="*/ 45273 h 54"/>
              <a:gd name="T36" fmla="*/ 98946 w 201"/>
              <a:gd name="T37" fmla="*/ 49154 h 54"/>
              <a:gd name="T38" fmla="*/ 82455 w 201"/>
              <a:gd name="T39" fmla="*/ 41393 h 54"/>
              <a:gd name="T40" fmla="*/ 63216 w 201"/>
              <a:gd name="T41" fmla="*/ 31044 h 54"/>
              <a:gd name="T42" fmla="*/ 42602 w 201"/>
              <a:gd name="T43" fmla="*/ 31044 h 54"/>
              <a:gd name="T44" fmla="*/ 16491 w 201"/>
              <a:gd name="T45" fmla="*/ 25870 h 54"/>
              <a:gd name="T46" fmla="*/ 5497 w 201"/>
              <a:gd name="T47" fmla="*/ 18109 h 54"/>
              <a:gd name="T48" fmla="*/ 0 w 201"/>
              <a:gd name="T49" fmla="*/ 5174 h 54"/>
              <a:gd name="T50" fmla="*/ 5497 w 201"/>
              <a:gd name="T51" fmla="*/ 0 h 54"/>
              <a:gd name="T52" fmla="*/ 26111 w 201"/>
              <a:gd name="T53" fmla="*/ 5174 h 54"/>
              <a:gd name="T54" fmla="*/ 41228 w 201"/>
              <a:gd name="T55" fmla="*/ 10348 h 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1"/>
              <a:gd name="T85" fmla="*/ 0 h 54"/>
              <a:gd name="T86" fmla="*/ 201 w 201"/>
              <a:gd name="T87" fmla="*/ 54 h 5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1" h="54">
                <a:moveTo>
                  <a:pt x="42" y="11"/>
                </a:moveTo>
                <a:lnTo>
                  <a:pt x="57" y="4"/>
                </a:lnTo>
                <a:lnTo>
                  <a:pt x="64" y="11"/>
                </a:lnTo>
                <a:lnTo>
                  <a:pt x="70" y="13"/>
                </a:lnTo>
                <a:lnTo>
                  <a:pt x="81" y="7"/>
                </a:lnTo>
                <a:lnTo>
                  <a:pt x="88" y="4"/>
                </a:lnTo>
                <a:lnTo>
                  <a:pt x="120" y="7"/>
                </a:lnTo>
                <a:lnTo>
                  <a:pt x="151" y="6"/>
                </a:lnTo>
                <a:lnTo>
                  <a:pt x="160" y="15"/>
                </a:lnTo>
                <a:lnTo>
                  <a:pt x="160" y="20"/>
                </a:lnTo>
                <a:lnTo>
                  <a:pt x="182" y="17"/>
                </a:lnTo>
                <a:lnTo>
                  <a:pt x="194" y="19"/>
                </a:lnTo>
                <a:lnTo>
                  <a:pt x="201" y="26"/>
                </a:lnTo>
                <a:lnTo>
                  <a:pt x="194" y="35"/>
                </a:lnTo>
                <a:lnTo>
                  <a:pt x="175" y="34"/>
                </a:lnTo>
                <a:lnTo>
                  <a:pt x="162" y="41"/>
                </a:lnTo>
                <a:lnTo>
                  <a:pt x="140" y="41"/>
                </a:lnTo>
                <a:lnTo>
                  <a:pt x="118" y="50"/>
                </a:lnTo>
                <a:lnTo>
                  <a:pt x="99" y="54"/>
                </a:lnTo>
                <a:lnTo>
                  <a:pt x="84" y="45"/>
                </a:lnTo>
                <a:lnTo>
                  <a:pt x="64" y="34"/>
                </a:lnTo>
                <a:lnTo>
                  <a:pt x="44" y="34"/>
                </a:lnTo>
                <a:lnTo>
                  <a:pt x="17" y="28"/>
                </a:lnTo>
                <a:lnTo>
                  <a:pt x="7" y="20"/>
                </a:lnTo>
                <a:lnTo>
                  <a:pt x="0" y="6"/>
                </a:lnTo>
                <a:lnTo>
                  <a:pt x="4" y="0"/>
                </a:lnTo>
                <a:lnTo>
                  <a:pt x="27" y="4"/>
                </a:lnTo>
                <a:lnTo>
                  <a:pt x="42" y="11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0" name="Freeform 58"/>
          <p:cNvSpPr>
            <a:spLocks noChangeAspect="1"/>
          </p:cNvSpPr>
          <p:nvPr/>
        </p:nvSpPr>
        <p:spPr bwMode="auto">
          <a:xfrm>
            <a:off x="3808264" y="5294660"/>
            <a:ext cx="41275" cy="36512"/>
          </a:xfrm>
          <a:custGeom>
            <a:avLst/>
            <a:gdLst>
              <a:gd name="T0" fmla="*/ 30268 w 30"/>
              <a:gd name="T1" fmla="*/ 0 h 28"/>
              <a:gd name="T2" fmla="*/ 11007 w 30"/>
              <a:gd name="T3" fmla="*/ 0 h 28"/>
              <a:gd name="T4" fmla="*/ 2752 w 30"/>
              <a:gd name="T5" fmla="*/ 5216 h 28"/>
              <a:gd name="T6" fmla="*/ 0 w 30"/>
              <a:gd name="T7" fmla="*/ 14344 h 28"/>
              <a:gd name="T8" fmla="*/ 0 w 30"/>
              <a:gd name="T9" fmla="*/ 24776 h 28"/>
              <a:gd name="T10" fmla="*/ 8255 w 30"/>
              <a:gd name="T11" fmla="*/ 26080 h 28"/>
              <a:gd name="T12" fmla="*/ 26141 w 30"/>
              <a:gd name="T13" fmla="*/ 15648 h 28"/>
              <a:gd name="T14" fmla="*/ 30268 w 30"/>
              <a:gd name="T15" fmla="*/ 0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"/>
              <a:gd name="T25" fmla="*/ 0 h 28"/>
              <a:gd name="T26" fmla="*/ 30 w 30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" h="28">
                <a:moveTo>
                  <a:pt x="30" y="0"/>
                </a:moveTo>
                <a:lnTo>
                  <a:pt x="11" y="0"/>
                </a:lnTo>
                <a:lnTo>
                  <a:pt x="2" y="6"/>
                </a:lnTo>
                <a:lnTo>
                  <a:pt x="0" y="15"/>
                </a:lnTo>
                <a:lnTo>
                  <a:pt x="0" y="26"/>
                </a:lnTo>
                <a:lnTo>
                  <a:pt x="9" y="28"/>
                </a:lnTo>
                <a:lnTo>
                  <a:pt x="26" y="17"/>
                </a:lnTo>
                <a:lnTo>
                  <a:pt x="30" y="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1" name="Freeform 59"/>
          <p:cNvSpPr>
            <a:spLocks noChangeAspect="1"/>
          </p:cNvSpPr>
          <p:nvPr/>
        </p:nvSpPr>
        <p:spPr bwMode="auto">
          <a:xfrm>
            <a:off x="4089251" y="5635972"/>
            <a:ext cx="55563" cy="28575"/>
          </a:xfrm>
          <a:custGeom>
            <a:avLst/>
            <a:gdLst>
              <a:gd name="T0" fmla="*/ 37945 w 41"/>
              <a:gd name="T1" fmla="*/ 6494 h 22"/>
              <a:gd name="T2" fmla="*/ 20328 w 41"/>
              <a:gd name="T3" fmla="*/ 20782 h 22"/>
              <a:gd name="T4" fmla="*/ 8131 w 41"/>
              <a:gd name="T5" fmla="*/ 20782 h 22"/>
              <a:gd name="T6" fmla="*/ 0 w 41"/>
              <a:gd name="T7" fmla="*/ 15586 h 22"/>
              <a:gd name="T8" fmla="*/ 5421 w 41"/>
              <a:gd name="T9" fmla="*/ 2598 h 22"/>
              <a:gd name="T10" fmla="*/ 24394 w 41"/>
              <a:gd name="T11" fmla="*/ 0 h 22"/>
              <a:gd name="T12" fmla="*/ 37945 w 41"/>
              <a:gd name="T13" fmla="*/ 6494 h 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2"/>
              <a:gd name="T23" fmla="*/ 41 w 41"/>
              <a:gd name="T24" fmla="*/ 22 h 2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2">
                <a:moveTo>
                  <a:pt x="41" y="6"/>
                </a:moveTo>
                <a:lnTo>
                  <a:pt x="22" y="22"/>
                </a:lnTo>
                <a:lnTo>
                  <a:pt x="9" y="22"/>
                </a:lnTo>
                <a:lnTo>
                  <a:pt x="0" y="15"/>
                </a:lnTo>
                <a:lnTo>
                  <a:pt x="6" y="2"/>
                </a:lnTo>
                <a:lnTo>
                  <a:pt x="26" y="0"/>
                </a:lnTo>
                <a:lnTo>
                  <a:pt x="41" y="6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2" name="Freeform 60"/>
          <p:cNvSpPr>
            <a:spLocks noChangeAspect="1"/>
          </p:cNvSpPr>
          <p:nvPr/>
        </p:nvSpPr>
        <p:spPr bwMode="auto">
          <a:xfrm>
            <a:off x="4097189" y="5701060"/>
            <a:ext cx="57150" cy="44450"/>
          </a:xfrm>
          <a:custGeom>
            <a:avLst/>
            <a:gdLst>
              <a:gd name="T0" fmla="*/ 42182 w 42"/>
              <a:gd name="T1" fmla="*/ 0 h 34"/>
              <a:gd name="T2" fmla="*/ 42182 w 42"/>
              <a:gd name="T3" fmla="*/ 10459 h 34"/>
              <a:gd name="T4" fmla="*/ 16329 w 42"/>
              <a:gd name="T5" fmla="*/ 28762 h 34"/>
              <a:gd name="T6" fmla="*/ 6804 w 42"/>
              <a:gd name="T7" fmla="*/ 33991 h 34"/>
              <a:gd name="T8" fmla="*/ 0 w 42"/>
              <a:gd name="T9" fmla="*/ 31376 h 34"/>
              <a:gd name="T10" fmla="*/ 5443 w 42"/>
              <a:gd name="T11" fmla="*/ 19610 h 34"/>
              <a:gd name="T12" fmla="*/ 21771 w 42"/>
              <a:gd name="T13" fmla="*/ 6537 h 34"/>
              <a:gd name="T14" fmla="*/ 42182 w 42"/>
              <a:gd name="T15" fmla="*/ 0 h 3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"/>
              <a:gd name="T25" fmla="*/ 0 h 34"/>
              <a:gd name="T26" fmla="*/ 42 w 42"/>
              <a:gd name="T27" fmla="*/ 34 h 3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" h="34">
                <a:moveTo>
                  <a:pt x="42" y="0"/>
                </a:moveTo>
                <a:lnTo>
                  <a:pt x="42" y="11"/>
                </a:lnTo>
                <a:lnTo>
                  <a:pt x="16" y="29"/>
                </a:lnTo>
                <a:lnTo>
                  <a:pt x="5" y="34"/>
                </a:lnTo>
                <a:lnTo>
                  <a:pt x="0" y="32"/>
                </a:lnTo>
                <a:lnTo>
                  <a:pt x="4" y="20"/>
                </a:lnTo>
                <a:lnTo>
                  <a:pt x="22" y="6"/>
                </a:lnTo>
                <a:lnTo>
                  <a:pt x="42" y="0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3" name="Freeform 61"/>
          <p:cNvSpPr>
            <a:spLocks noChangeAspect="1"/>
          </p:cNvSpPr>
          <p:nvPr/>
        </p:nvSpPr>
        <p:spPr bwMode="auto">
          <a:xfrm>
            <a:off x="3884464" y="5358160"/>
            <a:ext cx="71437" cy="47625"/>
          </a:xfrm>
          <a:custGeom>
            <a:avLst/>
            <a:gdLst>
              <a:gd name="T0" fmla="*/ 28850 w 52"/>
              <a:gd name="T1" fmla="*/ 0 h 37"/>
              <a:gd name="T2" fmla="*/ 52204 w 52"/>
              <a:gd name="T3" fmla="*/ 24456 h 37"/>
              <a:gd name="T4" fmla="*/ 48083 w 52"/>
              <a:gd name="T5" fmla="*/ 29605 h 37"/>
              <a:gd name="T6" fmla="*/ 35719 w 52"/>
              <a:gd name="T7" fmla="*/ 33466 h 37"/>
              <a:gd name="T8" fmla="*/ 32971 w 52"/>
              <a:gd name="T9" fmla="*/ 25743 h 37"/>
              <a:gd name="T10" fmla="*/ 28850 w 52"/>
              <a:gd name="T11" fmla="*/ 21882 h 37"/>
              <a:gd name="T12" fmla="*/ 19233 w 52"/>
              <a:gd name="T13" fmla="*/ 25743 h 37"/>
              <a:gd name="T14" fmla="*/ 10990 w 52"/>
              <a:gd name="T15" fmla="*/ 20595 h 37"/>
              <a:gd name="T16" fmla="*/ 6869 w 52"/>
              <a:gd name="T17" fmla="*/ 15446 h 37"/>
              <a:gd name="T18" fmla="*/ 13738 w 52"/>
              <a:gd name="T19" fmla="*/ 12872 h 37"/>
              <a:gd name="T20" fmla="*/ 2748 w 52"/>
              <a:gd name="T21" fmla="*/ 16733 h 37"/>
              <a:gd name="T22" fmla="*/ 0 w 52"/>
              <a:gd name="T23" fmla="*/ 12872 h 37"/>
              <a:gd name="T24" fmla="*/ 16485 w 52"/>
              <a:gd name="T25" fmla="*/ 5149 h 37"/>
              <a:gd name="T26" fmla="*/ 28850 w 52"/>
              <a:gd name="T27" fmla="*/ 0 h 3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2"/>
              <a:gd name="T43" fmla="*/ 0 h 37"/>
              <a:gd name="T44" fmla="*/ 52 w 52"/>
              <a:gd name="T45" fmla="*/ 37 h 3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2" h="37">
                <a:moveTo>
                  <a:pt x="28" y="0"/>
                </a:moveTo>
                <a:lnTo>
                  <a:pt x="52" y="26"/>
                </a:lnTo>
                <a:lnTo>
                  <a:pt x="48" y="33"/>
                </a:lnTo>
                <a:lnTo>
                  <a:pt x="35" y="37"/>
                </a:lnTo>
                <a:lnTo>
                  <a:pt x="33" y="28"/>
                </a:lnTo>
                <a:lnTo>
                  <a:pt x="28" y="24"/>
                </a:lnTo>
                <a:lnTo>
                  <a:pt x="20" y="28"/>
                </a:lnTo>
                <a:lnTo>
                  <a:pt x="11" y="22"/>
                </a:lnTo>
                <a:lnTo>
                  <a:pt x="7" y="17"/>
                </a:lnTo>
                <a:lnTo>
                  <a:pt x="13" y="13"/>
                </a:lnTo>
                <a:lnTo>
                  <a:pt x="2" y="19"/>
                </a:lnTo>
                <a:lnTo>
                  <a:pt x="0" y="13"/>
                </a:lnTo>
                <a:lnTo>
                  <a:pt x="15" y="7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4" name="Freeform 62"/>
          <p:cNvSpPr>
            <a:spLocks noChangeAspect="1"/>
          </p:cNvSpPr>
          <p:nvPr/>
        </p:nvSpPr>
        <p:spPr bwMode="auto">
          <a:xfrm>
            <a:off x="2296964" y="4913660"/>
            <a:ext cx="93662" cy="158750"/>
          </a:xfrm>
          <a:custGeom>
            <a:avLst/>
            <a:gdLst>
              <a:gd name="T0" fmla="*/ 67492 w 68"/>
              <a:gd name="T1" fmla="*/ 0 h 122"/>
              <a:gd name="T2" fmla="*/ 45454 w 68"/>
              <a:gd name="T3" fmla="*/ 24723 h 122"/>
              <a:gd name="T4" fmla="*/ 19283 w 68"/>
              <a:gd name="T5" fmla="*/ 24723 h 122"/>
              <a:gd name="T6" fmla="*/ 0 w 68"/>
              <a:gd name="T7" fmla="*/ 37736 h 122"/>
              <a:gd name="T8" fmla="*/ 5510 w 68"/>
              <a:gd name="T9" fmla="*/ 57254 h 122"/>
              <a:gd name="T10" fmla="*/ 5510 w 68"/>
              <a:gd name="T11" fmla="*/ 89785 h 122"/>
              <a:gd name="T12" fmla="*/ 19283 w 68"/>
              <a:gd name="T13" fmla="*/ 113207 h 122"/>
              <a:gd name="T14" fmla="*/ 38567 w 68"/>
              <a:gd name="T15" fmla="*/ 106701 h 122"/>
              <a:gd name="T16" fmla="*/ 42699 w 68"/>
              <a:gd name="T17" fmla="*/ 92387 h 122"/>
              <a:gd name="T18" fmla="*/ 60605 w 68"/>
              <a:gd name="T19" fmla="*/ 61158 h 122"/>
              <a:gd name="T20" fmla="*/ 60605 w 68"/>
              <a:gd name="T21" fmla="*/ 44242 h 122"/>
              <a:gd name="T22" fmla="*/ 67492 w 68"/>
              <a:gd name="T23" fmla="*/ 0 h 1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8"/>
              <a:gd name="T37" fmla="*/ 0 h 122"/>
              <a:gd name="T38" fmla="*/ 68 w 68"/>
              <a:gd name="T39" fmla="*/ 122 h 1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8" h="122">
                <a:moveTo>
                  <a:pt x="68" y="0"/>
                </a:moveTo>
                <a:lnTo>
                  <a:pt x="46" y="26"/>
                </a:lnTo>
                <a:lnTo>
                  <a:pt x="20" y="26"/>
                </a:lnTo>
                <a:lnTo>
                  <a:pt x="0" y="41"/>
                </a:lnTo>
                <a:lnTo>
                  <a:pt x="4" y="62"/>
                </a:lnTo>
                <a:lnTo>
                  <a:pt x="4" y="96"/>
                </a:lnTo>
                <a:lnTo>
                  <a:pt x="20" y="122"/>
                </a:lnTo>
                <a:lnTo>
                  <a:pt x="38" y="115"/>
                </a:lnTo>
                <a:lnTo>
                  <a:pt x="42" y="100"/>
                </a:lnTo>
                <a:lnTo>
                  <a:pt x="61" y="66"/>
                </a:lnTo>
                <a:lnTo>
                  <a:pt x="61" y="48"/>
                </a:lnTo>
                <a:lnTo>
                  <a:pt x="68" y="0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5" name="Freeform 63"/>
          <p:cNvSpPr>
            <a:spLocks noChangeAspect="1"/>
          </p:cNvSpPr>
          <p:nvPr/>
        </p:nvSpPr>
        <p:spPr bwMode="auto">
          <a:xfrm>
            <a:off x="1339701" y="3897660"/>
            <a:ext cx="1050925" cy="966787"/>
          </a:xfrm>
          <a:custGeom>
            <a:avLst/>
            <a:gdLst>
              <a:gd name="T0" fmla="*/ 11004 w 764"/>
              <a:gd name="T1" fmla="*/ 134780 h 746"/>
              <a:gd name="T2" fmla="*/ 13756 w 764"/>
              <a:gd name="T3" fmla="*/ 161995 h 746"/>
              <a:gd name="T4" fmla="*/ 74280 w 764"/>
              <a:gd name="T5" fmla="*/ 204762 h 746"/>
              <a:gd name="T6" fmla="*/ 122425 w 764"/>
              <a:gd name="T7" fmla="*/ 233273 h 746"/>
              <a:gd name="T8" fmla="*/ 116922 w 764"/>
              <a:gd name="T9" fmla="*/ 270856 h 746"/>
              <a:gd name="T10" fmla="*/ 144433 w 764"/>
              <a:gd name="T11" fmla="*/ 325286 h 746"/>
              <a:gd name="T12" fmla="*/ 158189 w 764"/>
              <a:gd name="T13" fmla="*/ 399156 h 746"/>
              <a:gd name="T14" fmla="*/ 132053 w 764"/>
              <a:gd name="T15" fmla="*/ 399156 h 746"/>
              <a:gd name="T16" fmla="*/ 115547 w 764"/>
              <a:gd name="T17" fmla="*/ 438035 h 746"/>
              <a:gd name="T18" fmla="*/ 97665 w 764"/>
              <a:gd name="T19" fmla="*/ 475618 h 746"/>
              <a:gd name="T20" fmla="*/ 56398 w 764"/>
              <a:gd name="T21" fmla="*/ 541712 h 746"/>
              <a:gd name="T22" fmla="*/ 59149 w 764"/>
              <a:gd name="T23" fmla="*/ 574111 h 746"/>
              <a:gd name="T24" fmla="*/ 160940 w 764"/>
              <a:gd name="T25" fmla="*/ 637613 h 746"/>
              <a:gd name="T26" fmla="*/ 248976 w 764"/>
              <a:gd name="T27" fmla="*/ 675196 h 746"/>
              <a:gd name="T28" fmla="*/ 324631 w 764"/>
              <a:gd name="T29" fmla="*/ 693339 h 746"/>
              <a:gd name="T30" fmla="*/ 352142 w 764"/>
              <a:gd name="T31" fmla="*/ 640205 h 746"/>
              <a:gd name="T32" fmla="*/ 422296 w 764"/>
              <a:gd name="T33" fmla="*/ 618173 h 746"/>
              <a:gd name="T34" fmla="*/ 471816 w 764"/>
              <a:gd name="T35" fmla="*/ 641501 h 746"/>
              <a:gd name="T36" fmla="*/ 540594 w 764"/>
              <a:gd name="T37" fmla="*/ 675196 h 746"/>
              <a:gd name="T38" fmla="*/ 603869 w 764"/>
              <a:gd name="T39" fmla="*/ 660940 h 746"/>
              <a:gd name="T40" fmla="*/ 649263 w 764"/>
              <a:gd name="T41" fmla="*/ 616877 h 746"/>
              <a:gd name="T42" fmla="*/ 621751 w 764"/>
              <a:gd name="T43" fmla="*/ 597438 h 746"/>
              <a:gd name="T44" fmla="*/ 617625 w 764"/>
              <a:gd name="T45" fmla="*/ 533936 h 746"/>
              <a:gd name="T46" fmla="*/ 634131 w 764"/>
              <a:gd name="T47" fmla="*/ 475618 h 746"/>
              <a:gd name="T48" fmla="*/ 634131 w 764"/>
              <a:gd name="T49" fmla="*/ 422483 h 746"/>
              <a:gd name="T50" fmla="*/ 601118 w 764"/>
              <a:gd name="T51" fmla="*/ 422483 h 746"/>
              <a:gd name="T52" fmla="*/ 587363 w 764"/>
              <a:gd name="T53" fmla="*/ 414708 h 746"/>
              <a:gd name="T54" fmla="*/ 621751 w 764"/>
              <a:gd name="T55" fmla="*/ 377125 h 746"/>
              <a:gd name="T56" fmla="*/ 676774 w 764"/>
              <a:gd name="T57" fmla="*/ 327878 h 746"/>
              <a:gd name="T58" fmla="*/ 705660 w 764"/>
              <a:gd name="T59" fmla="*/ 304551 h 746"/>
              <a:gd name="T60" fmla="*/ 727669 w 764"/>
              <a:gd name="T61" fmla="*/ 257896 h 746"/>
              <a:gd name="T62" fmla="*/ 764809 w 764"/>
              <a:gd name="T63" fmla="*/ 217721 h 746"/>
              <a:gd name="T64" fmla="*/ 719416 w 764"/>
              <a:gd name="T65" fmla="*/ 198282 h 746"/>
              <a:gd name="T66" fmla="*/ 668520 w 764"/>
              <a:gd name="T67" fmla="*/ 182731 h 746"/>
              <a:gd name="T68" fmla="*/ 631380 w 764"/>
              <a:gd name="T69" fmla="*/ 151627 h 746"/>
              <a:gd name="T70" fmla="*/ 580485 w 764"/>
              <a:gd name="T71" fmla="*/ 111453 h 746"/>
              <a:gd name="T72" fmla="*/ 539218 w 764"/>
              <a:gd name="T73" fmla="*/ 71278 h 746"/>
              <a:gd name="T74" fmla="*/ 508956 w 764"/>
              <a:gd name="T75" fmla="*/ 27215 h 746"/>
              <a:gd name="T76" fmla="*/ 444305 w 764"/>
              <a:gd name="T77" fmla="*/ 2592 h 746"/>
              <a:gd name="T78" fmla="*/ 415418 w 764"/>
              <a:gd name="T79" fmla="*/ 32399 h 746"/>
              <a:gd name="T80" fmla="*/ 317753 w 764"/>
              <a:gd name="T81" fmla="*/ 81646 h 746"/>
              <a:gd name="T82" fmla="*/ 265482 w 764"/>
              <a:gd name="T83" fmla="*/ 95901 h 746"/>
              <a:gd name="T84" fmla="*/ 220089 w 764"/>
              <a:gd name="T85" fmla="*/ 72574 h 746"/>
              <a:gd name="T86" fmla="*/ 199456 w 764"/>
              <a:gd name="T87" fmla="*/ 51838 h 746"/>
              <a:gd name="T88" fmla="*/ 203582 w 764"/>
              <a:gd name="T89" fmla="*/ 76462 h 746"/>
              <a:gd name="T90" fmla="*/ 198080 w 764"/>
              <a:gd name="T91" fmla="*/ 104973 h 746"/>
              <a:gd name="T92" fmla="*/ 181573 w 764"/>
              <a:gd name="T93" fmla="*/ 127004 h 746"/>
              <a:gd name="T94" fmla="*/ 141682 w 764"/>
              <a:gd name="T95" fmla="*/ 116637 h 746"/>
              <a:gd name="T96" fmla="*/ 93538 w 764"/>
              <a:gd name="T97" fmla="*/ 89421 h 746"/>
              <a:gd name="T98" fmla="*/ 59149 w 764"/>
              <a:gd name="T99" fmla="*/ 101085 h 74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64"/>
              <a:gd name="T151" fmla="*/ 0 h 746"/>
              <a:gd name="T152" fmla="*/ 764 w 764"/>
              <a:gd name="T153" fmla="*/ 746 h 74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64" h="746">
                <a:moveTo>
                  <a:pt x="13" y="106"/>
                </a:moveTo>
                <a:lnTo>
                  <a:pt x="20" y="124"/>
                </a:lnTo>
                <a:lnTo>
                  <a:pt x="13" y="139"/>
                </a:lnTo>
                <a:lnTo>
                  <a:pt x="11" y="145"/>
                </a:lnTo>
                <a:lnTo>
                  <a:pt x="0" y="141"/>
                </a:lnTo>
                <a:lnTo>
                  <a:pt x="4" y="150"/>
                </a:lnTo>
                <a:lnTo>
                  <a:pt x="4" y="159"/>
                </a:lnTo>
                <a:lnTo>
                  <a:pt x="13" y="174"/>
                </a:lnTo>
                <a:lnTo>
                  <a:pt x="30" y="169"/>
                </a:lnTo>
                <a:lnTo>
                  <a:pt x="52" y="193"/>
                </a:lnTo>
                <a:lnTo>
                  <a:pt x="61" y="209"/>
                </a:lnTo>
                <a:lnTo>
                  <a:pt x="74" y="221"/>
                </a:lnTo>
                <a:lnTo>
                  <a:pt x="91" y="221"/>
                </a:lnTo>
                <a:lnTo>
                  <a:pt x="98" y="235"/>
                </a:lnTo>
                <a:lnTo>
                  <a:pt x="113" y="248"/>
                </a:lnTo>
                <a:lnTo>
                  <a:pt x="122" y="250"/>
                </a:lnTo>
                <a:lnTo>
                  <a:pt x="124" y="256"/>
                </a:lnTo>
                <a:lnTo>
                  <a:pt x="119" y="268"/>
                </a:lnTo>
                <a:lnTo>
                  <a:pt x="119" y="279"/>
                </a:lnTo>
                <a:lnTo>
                  <a:pt x="117" y="290"/>
                </a:lnTo>
                <a:lnTo>
                  <a:pt x="113" y="309"/>
                </a:lnTo>
                <a:lnTo>
                  <a:pt x="128" y="327"/>
                </a:lnTo>
                <a:lnTo>
                  <a:pt x="145" y="340"/>
                </a:lnTo>
                <a:lnTo>
                  <a:pt x="145" y="349"/>
                </a:lnTo>
                <a:lnTo>
                  <a:pt x="143" y="381"/>
                </a:lnTo>
                <a:lnTo>
                  <a:pt x="139" y="407"/>
                </a:lnTo>
                <a:lnTo>
                  <a:pt x="143" y="418"/>
                </a:lnTo>
                <a:lnTo>
                  <a:pt x="158" y="429"/>
                </a:lnTo>
                <a:lnTo>
                  <a:pt x="158" y="451"/>
                </a:lnTo>
                <a:lnTo>
                  <a:pt x="158" y="466"/>
                </a:lnTo>
                <a:lnTo>
                  <a:pt x="141" y="444"/>
                </a:lnTo>
                <a:lnTo>
                  <a:pt x="132" y="429"/>
                </a:lnTo>
                <a:lnTo>
                  <a:pt x="126" y="433"/>
                </a:lnTo>
                <a:lnTo>
                  <a:pt x="130" y="444"/>
                </a:lnTo>
                <a:lnTo>
                  <a:pt x="124" y="457"/>
                </a:lnTo>
                <a:lnTo>
                  <a:pt x="115" y="470"/>
                </a:lnTo>
                <a:lnTo>
                  <a:pt x="109" y="479"/>
                </a:lnTo>
                <a:lnTo>
                  <a:pt x="117" y="488"/>
                </a:lnTo>
                <a:lnTo>
                  <a:pt x="111" y="498"/>
                </a:lnTo>
                <a:lnTo>
                  <a:pt x="98" y="511"/>
                </a:lnTo>
                <a:lnTo>
                  <a:pt x="96" y="522"/>
                </a:lnTo>
                <a:lnTo>
                  <a:pt x="89" y="535"/>
                </a:lnTo>
                <a:lnTo>
                  <a:pt x="69" y="559"/>
                </a:lnTo>
                <a:lnTo>
                  <a:pt x="57" y="583"/>
                </a:lnTo>
                <a:lnTo>
                  <a:pt x="57" y="587"/>
                </a:lnTo>
                <a:lnTo>
                  <a:pt x="63" y="594"/>
                </a:lnTo>
                <a:lnTo>
                  <a:pt x="56" y="605"/>
                </a:lnTo>
                <a:lnTo>
                  <a:pt x="59" y="618"/>
                </a:lnTo>
                <a:lnTo>
                  <a:pt x="70" y="635"/>
                </a:lnTo>
                <a:lnTo>
                  <a:pt x="117" y="661"/>
                </a:lnTo>
                <a:lnTo>
                  <a:pt x="150" y="689"/>
                </a:lnTo>
                <a:lnTo>
                  <a:pt x="161" y="685"/>
                </a:lnTo>
                <a:lnTo>
                  <a:pt x="178" y="679"/>
                </a:lnTo>
                <a:lnTo>
                  <a:pt x="236" y="703"/>
                </a:lnTo>
                <a:lnTo>
                  <a:pt x="244" y="711"/>
                </a:lnTo>
                <a:lnTo>
                  <a:pt x="249" y="726"/>
                </a:lnTo>
                <a:lnTo>
                  <a:pt x="259" y="731"/>
                </a:lnTo>
                <a:lnTo>
                  <a:pt x="272" y="733"/>
                </a:lnTo>
                <a:lnTo>
                  <a:pt x="292" y="744"/>
                </a:lnTo>
                <a:lnTo>
                  <a:pt x="325" y="746"/>
                </a:lnTo>
                <a:lnTo>
                  <a:pt x="335" y="733"/>
                </a:lnTo>
                <a:lnTo>
                  <a:pt x="338" y="718"/>
                </a:lnTo>
                <a:lnTo>
                  <a:pt x="338" y="702"/>
                </a:lnTo>
                <a:lnTo>
                  <a:pt x="353" y="689"/>
                </a:lnTo>
                <a:lnTo>
                  <a:pt x="381" y="674"/>
                </a:lnTo>
                <a:lnTo>
                  <a:pt x="394" y="672"/>
                </a:lnTo>
                <a:lnTo>
                  <a:pt x="409" y="664"/>
                </a:lnTo>
                <a:lnTo>
                  <a:pt x="422" y="664"/>
                </a:lnTo>
                <a:lnTo>
                  <a:pt x="437" y="674"/>
                </a:lnTo>
                <a:lnTo>
                  <a:pt x="448" y="687"/>
                </a:lnTo>
                <a:lnTo>
                  <a:pt x="461" y="687"/>
                </a:lnTo>
                <a:lnTo>
                  <a:pt x="472" y="690"/>
                </a:lnTo>
                <a:lnTo>
                  <a:pt x="494" y="692"/>
                </a:lnTo>
                <a:lnTo>
                  <a:pt x="509" y="711"/>
                </a:lnTo>
                <a:lnTo>
                  <a:pt x="522" y="720"/>
                </a:lnTo>
                <a:lnTo>
                  <a:pt x="541" y="726"/>
                </a:lnTo>
                <a:lnTo>
                  <a:pt x="557" y="735"/>
                </a:lnTo>
                <a:lnTo>
                  <a:pt x="566" y="737"/>
                </a:lnTo>
                <a:lnTo>
                  <a:pt x="589" y="714"/>
                </a:lnTo>
                <a:lnTo>
                  <a:pt x="604" y="711"/>
                </a:lnTo>
                <a:lnTo>
                  <a:pt x="615" y="702"/>
                </a:lnTo>
                <a:lnTo>
                  <a:pt x="631" y="690"/>
                </a:lnTo>
                <a:lnTo>
                  <a:pt x="652" y="689"/>
                </a:lnTo>
                <a:lnTo>
                  <a:pt x="650" y="663"/>
                </a:lnTo>
                <a:lnTo>
                  <a:pt x="646" y="655"/>
                </a:lnTo>
                <a:lnTo>
                  <a:pt x="637" y="642"/>
                </a:lnTo>
                <a:lnTo>
                  <a:pt x="630" y="644"/>
                </a:lnTo>
                <a:lnTo>
                  <a:pt x="622" y="642"/>
                </a:lnTo>
                <a:lnTo>
                  <a:pt x="615" y="631"/>
                </a:lnTo>
                <a:lnTo>
                  <a:pt x="613" y="605"/>
                </a:lnTo>
                <a:lnTo>
                  <a:pt x="628" y="588"/>
                </a:lnTo>
                <a:lnTo>
                  <a:pt x="617" y="574"/>
                </a:lnTo>
                <a:lnTo>
                  <a:pt x="617" y="568"/>
                </a:lnTo>
                <a:lnTo>
                  <a:pt x="639" y="546"/>
                </a:lnTo>
                <a:lnTo>
                  <a:pt x="639" y="538"/>
                </a:lnTo>
                <a:lnTo>
                  <a:pt x="635" y="511"/>
                </a:lnTo>
                <a:lnTo>
                  <a:pt x="648" y="498"/>
                </a:lnTo>
                <a:lnTo>
                  <a:pt x="637" y="483"/>
                </a:lnTo>
                <a:lnTo>
                  <a:pt x="637" y="472"/>
                </a:lnTo>
                <a:lnTo>
                  <a:pt x="635" y="453"/>
                </a:lnTo>
                <a:lnTo>
                  <a:pt x="630" y="448"/>
                </a:lnTo>
                <a:lnTo>
                  <a:pt x="617" y="448"/>
                </a:lnTo>
                <a:lnTo>
                  <a:pt x="605" y="451"/>
                </a:lnTo>
                <a:lnTo>
                  <a:pt x="602" y="455"/>
                </a:lnTo>
                <a:lnTo>
                  <a:pt x="594" y="462"/>
                </a:lnTo>
                <a:lnTo>
                  <a:pt x="583" y="466"/>
                </a:lnTo>
                <a:lnTo>
                  <a:pt x="579" y="455"/>
                </a:lnTo>
                <a:lnTo>
                  <a:pt x="587" y="446"/>
                </a:lnTo>
                <a:lnTo>
                  <a:pt x="591" y="438"/>
                </a:lnTo>
                <a:lnTo>
                  <a:pt x="591" y="429"/>
                </a:lnTo>
                <a:lnTo>
                  <a:pt x="611" y="409"/>
                </a:lnTo>
                <a:lnTo>
                  <a:pt x="622" y="405"/>
                </a:lnTo>
                <a:lnTo>
                  <a:pt x="624" y="390"/>
                </a:lnTo>
                <a:lnTo>
                  <a:pt x="635" y="377"/>
                </a:lnTo>
                <a:lnTo>
                  <a:pt x="667" y="353"/>
                </a:lnTo>
                <a:lnTo>
                  <a:pt x="676" y="353"/>
                </a:lnTo>
                <a:lnTo>
                  <a:pt x="680" y="344"/>
                </a:lnTo>
                <a:lnTo>
                  <a:pt x="691" y="333"/>
                </a:lnTo>
                <a:lnTo>
                  <a:pt x="700" y="333"/>
                </a:lnTo>
                <a:lnTo>
                  <a:pt x="705" y="327"/>
                </a:lnTo>
                <a:lnTo>
                  <a:pt x="710" y="323"/>
                </a:lnTo>
                <a:lnTo>
                  <a:pt x="718" y="310"/>
                </a:lnTo>
                <a:lnTo>
                  <a:pt x="725" y="290"/>
                </a:lnTo>
                <a:lnTo>
                  <a:pt x="727" y="277"/>
                </a:lnTo>
                <a:lnTo>
                  <a:pt x="727" y="266"/>
                </a:lnTo>
                <a:lnTo>
                  <a:pt x="738" y="252"/>
                </a:lnTo>
                <a:lnTo>
                  <a:pt x="755" y="243"/>
                </a:lnTo>
                <a:lnTo>
                  <a:pt x="764" y="234"/>
                </a:lnTo>
                <a:lnTo>
                  <a:pt x="764" y="230"/>
                </a:lnTo>
                <a:lnTo>
                  <a:pt x="749" y="219"/>
                </a:lnTo>
                <a:lnTo>
                  <a:pt x="742" y="215"/>
                </a:lnTo>
                <a:lnTo>
                  <a:pt x="720" y="213"/>
                </a:lnTo>
                <a:lnTo>
                  <a:pt x="694" y="209"/>
                </a:lnTo>
                <a:lnTo>
                  <a:pt x="685" y="208"/>
                </a:lnTo>
                <a:lnTo>
                  <a:pt x="676" y="204"/>
                </a:lnTo>
                <a:lnTo>
                  <a:pt x="667" y="195"/>
                </a:lnTo>
                <a:lnTo>
                  <a:pt x="659" y="180"/>
                </a:lnTo>
                <a:lnTo>
                  <a:pt x="652" y="171"/>
                </a:lnTo>
                <a:lnTo>
                  <a:pt x="642" y="167"/>
                </a:lnTo>
                <a:lnTo>
                  <a:pt x="631" y="163"/>
                </a:lnTo>
                <a:lnTo>
                  <a:pt x="626" y="161"/>
                </a:lnTo>
                <a:lnTo>
                  <a:pt x="611" y="148"/>
                </a:lnTo>
                <a:lnTo>
                  <a:pt x="592" y="133"/>
                </a:lnTo>
                <a:lnTo>
                  <a:pt x="581" y="119"/>
                </a:lnTo>
                <a:lnTo>
                  <a:pt x="568" y="115"/>
                </a:lnTo>
                <a:lnTo>
                  <a:pt x="561" y="109"/>
                </a:lnTo>
                <a:lnTo>
                  <a:pt x="555" y="95"/>
                </a:lnTo>
                <a:lnTo>
                  <a:pt x="539" y="76"/>
                </a:lnTo>
                <a:lnTo>
                  <a:pt x="535" y="63"/>
                </a:lnTo>
                <a:lnTo>
                  <a:pt x="522" y="50"/>
                </a:lnTo>
                <a:lnTo>
                  <a:pt x="516" y="39"/>
                </a:lnTo>
                <a:lnTo>
                  <a:pt x="509" y="30"/>
                </a:lnTo>
                <a:lnTo>
                  <a:pt x="496" y="20"/>
                </a:lnTo>
                <a:lnTo>
                  <a:pt x="483" y="6"/>
                </a:lnTo>
                <a:lnTo>
                  <a:pt x="472" y="0"/>
                </a:lnTo>
                <a:lnTo>
                  <a:pt x="444" y="2"/>
                </a:lnTo>
                <a:lnTo>
                  <a:pt x="433" y="2"/>
                </a:lnTo>
                <a:lnTo>
                  <a:pt x="418" y="13"/>
                </a:lnTo>
                <a:lnTo>
                  <a:pt x="427" y="22"/>
                </a:lnTo>
                <a:lnTo>
                  <a:pt x="416" y="35"/>
                </a:lnTo>
                <a:lnTo>
                  <a:pt x="388" y="70"/>
                </a:lnTo>
                <a:lnTo>
                  <a:pt x="374" y="78"/>
                </a:lnTo>
                <a:lnTo>
                  <a:pt x="335" y="82"/>
                </a:lnTo>
                <a:lnTo>
                  <a:pt x="318" y="87"/>
                </a:lnTo>
                <a:lnTo>
                  <a:pt x="309" y="96"/>
                </a:lnTo>
                <a:lnTo>
                  <a:pt x="305" y="104"/>
                </a:lnTo>
                <a:lnTo>
                  <a:pt x="290" y="100"/>
                </a:lnTo>
                <a:lnTo>
                  <a:pt x="266" y="104"/>
                </a:lnTo>
                <a:lnTo>
                  <a:pt x="251" y="102"/>
                </a:lnTo>
                <a:lnTo>
                  <a:pt x="238" y="93"/>
                </a:lnTo>
                <a:lnTo>
                  <a:pt x="229" y="82"/>
                </a:lnTo>
                <a:lnTo>
                  <a:pt x="220" y="78"/>
                </a:lnTo>
                <a:lnTo>
                  <a:pt x="227" y="69"/>
                </a:lnTo>
                <a:lnTo>
                  <a:pt x="216" y="59"/>
                </a:lnTo>
                <a:lnTo>
                  <a:pt x="207" y="57"/>
                </a:lnTo>
                <a:lnTo>
                  <a:pt x="199" y="56"/>
                </a:lnTo>
                <a:lnTo>
                  <a:pt x="198" y="59"/>
                </a:lnTo>
                <a:lnTo>
                  <a:pt x="205" y="67"/>
                </a:lnTo>
                <a:lnTo>
                  <a:pt x="201" y="72"/>
                </a:lnTo>
                <a:lnTo>
                  <a:pt x="205" y="83"/>
                </a:lnTo>
                <a:lnTo>
                  <a:pt x="207" y="96"/>
                </a:lnTo>
                <a:lnTo>
                  <a:pt x="207" y="106"/>
                </a:lnTo>
                <a:lnTo>
                  <a:pt x="205" y="108"/>
                </a:lnTo>
                <a:lnTo>
                  <a:pt x="198" y="113"/>
                </a:lnTo>
                <a:lnTo>
                  <a:pt x="196" y="122"/>
                </a:lnTo>
                <a:lnTo>
                  <a:pt x="196" y="132"/>
                </a:lnTo>
                <a:lnTo>
                  <a:pt x="194" y="139"/>
                </a:lnTo>
                <a:lnTo>
                  <a:pt x="182" y="137"/>
                </a:lnTo>
                <a:lnTo>
                  <a:pt x="169" y="130"/>
                </a:lnTo>
                <a:lnTo>
                  <a:pt x="161" y="137"/>
                </a:lnTo>
                <a:lnTo>
                  <a:pt x="148" y="128"/>
                </a:lnTo>
                <a:lnTo>
                  <a:pt x="141" y="126"/>
                </a:lnTo>
                <a:lnTo>
                  <a:pt x="132" y="133"/>
                </a:lnTo>
                <a:lnTo>
                  <a:pt x="124" y="132"/>
                </a:lnTo>
                <a:lnTo>
                  <a:pt x="124" y="126"/>
                </a:lnTo>
                <a:lnTo>
                  <a:pt x="93" y="96"/>
                </a:lnTo>
                <a:lnTo>
                  <a:pt x="85" y="95"/>
                </a:lnTo>
                <a:lnTo>
                  <a:pt x="80" y="100"/>
                </a:lnTo>
                <a:lnTo>
                  <a:pt x="67" y="106"/>
                </a:lnTo>
                <a:lnTo>
                  <a:pt x="59" y="108"/>
                </a:lnTo>
                <a:lnTo>
                  <a:pt x="50" y="98"/>
                </a:lnTo>
                <a:lnTo>
                  <a:pt x="28" y="98"/>
                </a:lnTo>
                <a:lnTo>
                  <a:pt x="13" y="106"/>
                </a:lnTo>
                <a:close/>
              </a:path>
            </a:pathLst>
          </a:custGeom>
          <a:solidFill>
            <a:srgbClr val="008000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6" name="Freeform 64"/>
          <p:cNvSpPr>
            <a:spLocks noChangeAspect="1"/>
          </p:cNvSpPr>
          <p:nvPr/>
        </p:nvSpPr>
        <p:spPr bwMode="auto">
          <a:xfrm>
            <a:off x="3387576" y="3246785"/>
            <a:ext cx="509588" cy="250825"/>
          </a:xfrm>
          <a:custGeom>
            <a:avLst/>
            <a:gdLst>
              <a:gd name="T0" fmla="*/ 92028 w 371"/>
              <a:gd name="T1" fmla="*/ 59474 h 194"/>
              <a:gd name="T2" fmla="*/ 83787 w 371"/>
              <a:gd name="T3" fmla="*/ 36202 h 194"/>
              <a:gd name="T4" fmla="*/ 59063 w 371"/>
              <a:gd name="T5" fmla="*/ 24565 h 194"/>
              <a:gd name="T6" fmla="*/ 32965 w 371"/>
              <a:gd name="T7" fmla="*/ 42666 h 194"/>
              <a:gd name="T8" fmla="*/ 17856 w 371"/>
              <a:gd name="T9" fmla="*/ 80161 h 194"/>
              <a:gd name="T10" fmla="*/ 13736 w 371"/>
              <a:gd name="T11" fmla="*/ 95676 h 194"/>
              <a:gd name="T12" fmla="*/ 0 w 371"/>
              <a:gd name="T13" fmla="*/ 109898 h 194"/>
              <a:gd name="T14" fmla="*/ 5494 w 371"/>
              <a:gd name="T15" fmla="*/ 137049 h 194"/>
              <a:gd name="T16" fmla="*/ 16483 w 371"/>
              <a:gd name="T17" fmla="*/ 155149 h 194"/>
              <a:gd name="T18" fmla="*/ 48074 w 371"/>
              <a:gd name="T19" fmla="*/ 139635 h 194"/>
              <a:gd name="T20" fmla="*/ 70051 w 371"/>
              <a:gd name="T21" fmla="*/ 137049 h 194"/>
              <a:gd name="T22" fmla="*/ 97522 w 371"/>
              <a:gd name="T23" fmla="*/ 143513 h 194"/>
              <a:gd name="T24" fmla="*/ 126367 w 371"/>
              <a:gd name="T25" fmla="*/ 137049 h 194"/>
              <a:gd name="T26" fmla="*/ 144223 w 371"/>
              <a:gd name="T27" fmla="*/ 140927 h 194"/>
              <a:gd name="T28" fmla="*/ 167573 w 371"/>
              <a:gd name="T29" fmla="*/ 137049 h 194"/>
              <a:gd name="T30" fmla="*/ 195044 w 371"/>
              <a:gd name="T31" fmla="*/ 134463 h 194"/>
              <a:gd name="T32" fmla="*/ 225263 w 371"/>
              <a:gd name="T33" fmla="*/ 151271 h 194"/>
              <a:gd name="T34" fmla="*/ 262349 w 371"/>
              <a:gd name="T35" fmla="*/ 165493 h 194"/>
              <a:gd name="T36" fmla="*/ 284325 w 371"/>
              <a:gd name="T37" fmla="*/ 177129 h 194"/>
              <a:gd name="T38" fmla="*/ 317291 w 371"/>
              <a:gd name="T39" fmla="*/ 169372 h 194"/>
              <a:gd name="T40" fmla="*/ 335147 w 371"/>
              <a:gd name="T41" fmla="*/ 153857 h 194"/>
              <a:gd name="T42" fmla="*/ 365365 w 371"/>
              <a:gd name="T43" fmla="*/ 122827 h 194"/>
              <a:gd name="T44" fmla="*/ 366739 w 371"/>
              <a:gd name="T45" fmla="*/ 82746 h 194"/>
              <a:gd name="T46" fmla="*/ 340641 w 371"/>
              <a:gd name="T47" fmla="*/ 63353 h 194"/>
              <a:gd name="T48" fmla="*/ 328279 w 371"/>
              <a:gd name="T49" fmla="*/ 29737 h 194"/>
              <a:gd name="T50" fmla="*/ 303555 w 371"/>
              <a:gd name="T51" fmla="*/ 16808 h 194"/>
              <a:gd name="T52" fmla="*/ 260975 w 371"/>
              <a:gd name="T53" fmla="*/ 27151 h 194"/>
              <a:gd name="T54" fmla="*/ 236251 w 371"/>
              <a:gd name="T55" fmla="*/ 16808 h 194"/>
              <a:gd name="T56" fmla="*/ 214274 w 371"/>
              <a:gd name="T57" fmla="*/ 5172 h 194"/>
              <a:gd name="T58" fmla="*/ 192297 w 371"/>
              <a:gd name="T59" fmla="*/ 0 h 194"/>
              <a:gd name="T60" fmla="*/ 167573 w 371"/>
              <a:gd name="T61" fmla="*/ 5172 h 194"/>
              <a:gd name="T62" fmla="*/ 155211 w 371"/>
              <a:gd name="T63" fmla="*/ 16808 h 194"/>
              <a:gd name="T64" fmla="*/ 159332 w 371"/>
              <a:gd name="T65" fmla="*/ 55595 h 194"/>
              <a:gd name="T66" fmla="*/ 144223 w 371"/>
              <a:gd name="T67" fmla="*/ 78868 h 194"/>
              <a:gd name="T68" fmla="*/ 129114 w 371"/>
              <a:gd name="T69" fmla="*/ 77575 h 19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71"/>
              <a:gd name="T106" fmla="*/ 0 h 194"/>
              <a:gd name="T107" fmla="*/ 371 w 371"/>
              <a:gd name="T108" fmla="*/ 194 h 19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71" h="194">
                <a:moveTo>
                  <a:pt x="109" y="76"/>
                </a:moveTo>
                <a:lnTo>
                  <a:pt x="91" y="65"/>
                </a:lnTo>
                <a:lnTo>
                  <a:pt x="87" y="52"/>
                </a:lnTo>
                <a:lnTo>
                  <a:pt x="83" y="39"/>
                </a:lnTo>
                <a:lnTo>
                  <a:pt x="74" y="26"/>
                </a:lnTo>
                <a:lnTo>
                  <a:pt x="59" y="26"/>
                </a:lnTo>
                <a:lnTo>
                  <a:pt x="48" y="32"/>
                </a:lnTo>
                <a:lnTo>
                  <a:pt x="33" y="46"/>
                </a:lnTo>
                <a:lnTo>
                  <a:pt x="15" y="80"/>
                </a:lnTo>
                <a:lnTo>
                  <a:pt x="17" y="89"/>
                </a:lnTo>
                <a:lnTo>
                  <a:pt x="17" y="98"/>
                </a:lnTo>
                <a:lnTo>
                  <a:pt x="13" y="104"/>
                </a:lnTo>
                <a:lnTo>
                  <a:pt x="6" y="111"/>
                </a:lnTo>
                <a:lnTo>
                  <a:pt x="0" y="119"/>
                </a:lnTo>
                <a:lnTo>
                  <a:pt x="4" y="128"/>
                </a:lnTo>
                <a:lnTo>
                  <a:pt x="4" y="149"/>
                </a:lnTo>
                <a:lnTo>
                  <a:pt x="7" y="165"/>
                </a:lnTo>
                <a:lnTo>
                  <a:pt x="15" y="169"/>
                </a:lnTo>
                <a:lnTo>
                  <a:pt x="30" y="163"/>
                </a:lnTo>
                <a:lnTo>
                  <a:pt x="48" y="152"/>
                </a:lnTo>
                <a:lnTo>
                  <a:pt x="56" y="145"/>
                </a:lnTo>
                <a:lnTo>
                  <a:pt x="70" y="149"/>
                </a:lnTo>
                <a:lnTo>
                  <a:pt x="85" y="152"/>
                </a:lnTo>
                <a:lnTo>
                  <a:pt x="98" y="156"/>
                </a:lnTo>
                <a:lnTo>
                  <a:pt x="107" y="160"/>
                </a:lnTo>
                <a:lnTo>
                  <a:pt x="126" y="149"/>
                </a:lnTo>
                <a:lnTo>
                  <a:pt x="135" y="149"/>
                </a:lnTo>
                <a:lnTo>
                  <a:pt x="144" y="154"/>
                </a:lnTo>
                <a:lnTo>
                  <a:pt x="157" y="158"/>
                </a:lnTo>
                <a:lnTo>
                  <a:pt x="168" y="149"/>
                </a:lnTo>
                <a:lnTo>
                  <a:pt x="185" y="145"/>
                </a:lnTo>
                <a:lnTo>
                  <a:pt x="196" y="147"/>
                </a:lnTo>
                <a:lnTo>
                  <a:pt x="205" y="163"/>
                </a:lnTo>
                <a:lnTo>
                  <a:pt x="224" y="165"/>
                </a:lnTo>
                <a:lnTo>
                  <a:pt x="247" y="163"/>
                </a:lnTo>
                <a:lnTo>
                  <a:pt x="262" y="181"/>
                </a:lnTo>
                <a:lnTo>
                  <a:pt x="273" y="192"/>
                </a:lnTo>
                <a:lnTo>
                  <a:pt x="284" y="194"/>
                </a:lnTo>
                <a:lnTo>
                  <a:pt x="301" y="187"/>
                </a:lnTo>
                <a:lnTo>
                  <a:pt x="317" y="185"/>
                </a:lnTo>
                <a:lnTo>
                  <a:pt x="328" y="176"/>
                </a:lnTo>
                <a:lnTo>
                  <a:pt x="334" y="167"/>
                </a:lnTo>
                <a:lnTo>
                  <a:pt x="354" y="145"/>
                </a:lnTo>
                <a:lnTo>
                  <a:pt x="365" y="134"/>
                </a:lnTo>
                <a:lnTo>
                  <a:pt x="371" y="117"/>
                </a:lnTo>
                <a:lnTo>
                  <a:pt x="367" y="91"/>
                </a:lnTo>
                <a:lnTo>
                  <a:pt x="358" y="85"/>
                </a:lnTo>
                <a:lnTo>
                  <a:pt x="341" y="69"/>
                </a:lnTo>
                <a:lnTo>
                  <a:pt x="334" y="52"/>
                </a:lnTo>
                <a:lnTo>
                  <a:pt x="327" y="33"/>
                </a:lnTo>
                <a:lnTo>
                  <a:pt x="312" y="20"/>
                </a:lnTo>
                <a:lnTo>
                  <a:pt x="303" y="19"/>
                </a:lnTo>
                <a:lnTo>
                  <a:pt x="273" y="20"/>
                </a:lnTo>
                <a:lnTo>
                  <a:pt x="260" y="30"/>
                </a:lnTo>
                <a:lnTo>
                  <a:pt x="251" y="33"/>
                </a:lnTo>
                <a:lnTo>
                  <a:pt x="235" y="19"/>
                </a:lnTo>
                <a:lnTo>
                  <a:pt x="222" y="13"/>
                </a:lnTo>
                <a:lnTo>
                  <a:pt x="213" y="4"/>
                </a:lnTo>
                <a:lnTo>
                  <a:pt x="207" y="2"/>
                </a:lnTo>
                <a:lnTo>
                  <a:pt x="191" y="0"/>
                </a:lnTo>
                <a:lnTo>
                  <a:pt x="178" y="4"/>
                </a:lnTo>
                <a:lnTo>
                  <a:pt x="167" y="4"/>
                </a:lnTo>
                <a:lnTo>
                  <a:pt x="161" y="9"/>
                </a:lnTo>
                <a:lnTo>
                  <a:pt x="155" y="19"/>
                </a:lnTo>
                <a:lnTo>
                  <a:pt x="155" y="39"/>
                </a:lnTo>
                <a:lnTo>
                  <a:pt x="159" y="61"/>
                </a:lnTo>
                <a:lnTo>
                  <a:pt x="159" y="71"/>
                </a:lnTo>
                <a:lnTo>
                  <a:pt x="144" y="85"/>
                </a:lnTo>
                <a:lnTo>
                  <a:pt x="135" y="93"/>
                </a:lnTo>
                <a:lnTo>
                  <a:pt x="128" y="84"/>
                </a:lnTo>
                <a:lnTo>
                  <a:pt x="109" y="76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7" name="Freeform 65" descr="Diagonal weit nach oben"/>
          <p:cNvSpPr>
            <a:spLocks noChangeAspect="1"/>
          </p:cNvSpPr>
          <p:nvPr/>
        </p:nvSpPr>
        <p:spPr bwMode="auto">
          <a:xfrm>
            <a:off x="1350814" y="2922935"/>
            <a:ext cx="622300" cy="965200"/>
          </a:xfrm>
          <a:custGeom>
            <a:avLst/>
            <a:gdLst>
              <a:gd name="T0" fmla="*/ 147314 w 452"/>
              <a:gd name="T1" fmla="*/ 479361 h 745"/>
              <a:gd name="T2" fmla="*/ 96374 w 452"/>
              <a:gd name="T3" fmla="*/ 510455 h 745"/>
              <a:gd name="T4" fmla="*/ 83983 w 452"/>
              <a:gd name="T5" fmla="*/ 538957 h 745"/>
              <a:gd name="T6" fmla="*/ 114272 w 452"/>
              <a:gd name="T7" fmla="*/ 554504 h 745"/>
              <a:gd name="T8" fmla="*/ 137677 w 452"/>
              <a:gd name="T9" fmla="*/ 564869 h 745"/>
              <a:gd name="T10" fmla="*/ 181734 w 452"/>
              <a:gd name="T11" fmla="*/ 572642 h 745"/>
              <a:gd name="T12" fmla="*/ 152821 w 452"/>
              <a:gd name="T13" fmla="*/ 605031 h 745"/>
              <a:gd name="T14" fmla="*/ 86737 w 452"/>
              <a:gd name="T15" fmla="*/ 588189 h 745"/>
              <a:gd name="T16" fmla="*/ 41303 w 452"/>
              <a:gd name="T17" fmla="*/ 624465 h 745"/>
              <a:gd name="T18" fmla="*/ 2754 w 452"/>
              <a:gd name="T19" fmla="*/ 642603 h 745"/>
              <a:gd name="T20" fmla="*/ 22028 w 452"/>
              <a:gd name="T21" fmla="*/ 659445 h 745"/>
              <a:gd name="T22" fmla="*/ 59201 w 452"/>
              <a:gd name="T23" fmla="*/ 652967 h 745"/>
              <a:gd name="T24" fmla="*/ 110142 w 452"/>
              <a:gd name="T25" fmla="*/ 671106 h 745"/>
              <a:gd name="T26" fmla="*/ 148691 w 452"/>
              <a:gd name="T27" fmla="*/ 640012 h 745"/>
              <a:gd name="T28" fmla="*/ 184487 w 452"/>
              <a:gd name="T29" fmla="*/ 659445 h 745"/>
              <a:gd name="T30" fmla="*/ 231297 w 452"/>
              <a:gd name="T31" fmla="*/ 667219 h 745"/>
              <a:gd name="T32" fmla="*/ 267093 w 452"/>
              <a:gd name="T33" fmla="*/ 663332 h 745"/>
              <a:gd name="T34" fmla="*/ 318034 w 452"/>
              <a:gd name="T35" fmla="*/ 681470 h 745"/>
              <a:gd name="T36" fmla="*/ 357960 w 452"/>
              <a:gd name="T37" fmla="*/ 686652 h 745"/>
              <a:gd name="T38" fmla="*/ 399263 w 452"/>
              <a:gd name="T39" fmla="*/ 671106 h 745"/>
              <a:gd name="T40" fmla="*/ 382742 w 452"/>
              <a:gd name="T41" fmla="*/ 640012 h 745"/>
              <a:gd name="T42" fmla="*/ 385496 w 452"/>
              <a:gd name="T43" fmla="*/ 619283 h 745"/>
              <a:gd name="T44" fmla="*/ 439190 w 452"/>
              <a:gd name="T45" fmla="*/ 588189 h 745"/>
              <a:gd name="T46" fmla="*/ 454334 w 452"/>
              <a:gd name="T47" fmla="*/ 542844 h 745"/>
              <a:gd name="T48" fmla="*/ 415785 w 452"/>
              <a:gd name="T49" fmla="*/ 519524 h 745"/>
              <a:gd name="T50" fmla="*/ 386872 w 452"/>
              <a:gd name="T51" fmla="*/ 516933 h 745"/>
              <a:gd name="T52" fmla="*/ 396510 w 452"/>
              <a:gd name="T53" fmla="*/ 474179 h 745"/>
              <a:gd name="T54" fmla="*/ 396510 w 452"/>
              <a:gd name="T55" fmla="*/ 415878 h 745"/>
              <a:gd name="T56" fmla="*/ 355207 w 452"/>
              <a:gd name="T57" fmla="*/ 348509 h 745"/>
              <a:gd name="T58" fmla="*/ 355207 w 452"/>
              <a:gd name="T59" fmla="*/ 294094 h 745"/>
              <a:gd name="T60" fmla="*/ 342816 w 452"/>
              <a:gd name="T61" fmla="*/ 252636 h 745"/>
              <a:gd name="T62" fmla="*/ 298759 w 452"/>
              <a:gd name="T63" fmla="*/ 230612 h 745"/>
              <a:gd name="T64" fmla="*/ 296006 w 452"/>
              <a:gd name="T65" fmla="*/ 213769 h 745"/>
              <a:gd name="T66" fmla="*/ 331802 w 452"/>
              <a:gd name="T67" fmla="*/ 217656 h 745"/>
              <a:gd name="T68" fmla="*/ 391003 w 452"/>
              <a:gd name="T69" fmla="*/ 154173 h 745"/>
              <a:gd name="T70" fmla="*/ 386872 w 452"/>
              <a:gd name="T71" fmla="*/ 111419 h 745"/>
              <a:gd name="T72" fmla="*/ 331802 w 452"/>
              <a:gd name="T73" fmla="*/ 91986 h 745"/>
              <a:gd name="T74" fmla="*/ 304266 w 452"/>
              <a:gd name="T75" fmla="*/ 94577 h 745"/>
              <a:gd name="T76" fmla="*/ 319411 w 452"/>
              <a:gd name="T77" fmla="*/ 66074 h 745"/>
              <a:gd name="T78" fmla="*/ 378612 w 452"/>
              <a:gd name="T79" fmla="*/ 34980 h 745"/>
              <a:gd name="T80" fmla="*/ 341439 w 452"/>
              <a:gd name="T81" fmla="*/ 12956 h 745"/>
              <a:gd name="T82" fmla="*/ 279484 w 452"/>
              <a:gd name="T83" fmla="*/ 20729 h 745"/>
              <a:gd name="T84" fmla="*/ 251949 w 452"/>
              <a:gd name="T85" fmla="*/ 44049 h 745"/>
              <a:gd name="T86" fmla="*/ 231297 w 452"/>
              <a:gd name="T87" fmla="*/ 76439 h 745"/>
              <a:gd name="T88" fmla="*/ 184487 w 452"/>
              <a:gd name="T89" fmla="*/ 133444 h 745"/>
              <a:gd name="T90" fmla="*/ 216153 w 452"/>
              <a:gd name="T91" fmla="*/ 143808 h 745"/>
              <a:gd name="T92" fmla="*/ 169343 w 452"/>
              <a:gd name="T93" fmla="*/ 213769 h 745"/>
              <a:gd name="T94" fmla="*/ 185864 w 452"/>
              <a:gd name="T95" fmla="*/ 224134 h 745"/>
              <a:gd name="T96" fmla="*/ 214776 w 452"/>
              <a:gd name="T97" fmla="*/ 238385 h 745"/>
              <a:gd name="T98" fmla="*/ 181734 w 452"/>
              <a:gd name="T99" fmla="*/ 281139 h 745"/>
              <a:gd name="T100" fmla="*/ 228544 w 452"/>
              <a:gd name="T101" fmla="*/ 307050 h 745"/>
              <a:gd name="T102" fmla="*/ 254702 w 452"/>
              <a:gd name="T103" fmla="*/ 316119 h 745"/>
              <a:gd name="T104" fmla="*/ 245065 w 452"/>
              <a:gd name="T105" fmla="*/ 377011 h 745"/>
              <a:gd name="T106" fmla="*/ 242312 w 452"/>
              <a:gd name="T107" fmla="*/ 417174 h 745"/>
              <a:gd name="T108" fmla="*/ 223037 w 452"/>
              <a:gd name="T109" fmla="*/ 436607 h 74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52"/>
              <a:gd name="T166" fmla="*/ 0 h 745"/>
              <a:gd name="T167" fmla="*/ 452 w 452"/>
              <a:gd name="T168" fmla="*/ 745 h 74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52" h="745">
                <a:moveTo>
                  <a:pt x="135" y="478"/>
                </a:moveTo>
                <a:lnTo>
                  <a:pt x="156" y="497"/>
                </a:lnTo>
                <a:lnTo>
                  <a:pt x="147" y="515"/>
                </a:lnTo>
                <a:lnTo>
                  <a:pt x="134" y="530"/>
                </a:lnTo>
                <a:lnTo>
                  <a:pt x="113" y="540"/>
                </a:lnTo>
                <a:lnTo>
                  <a:pt x="97" y="549"/>
                </a:lnTo>
                <a:lnTo>
                  <a:pt x="80" y="551"/>
                </a:lnTo>
                <a:lnTo>
                  <a:pt x="71" y="558"/>
                </a:lnTo>
                <a:lnTo>
                  <a:pt x="84" y="580"/>
                </a:lnTo>
                <a:lnTo>
                  <a:pt x="104" y="580"/>
                </a:lnTo>
                <a:lnTo>
                  <a:pt x="113" y="582"/>
                </a:lnTo>
                <a:lnTo>
                  <a:pt x="113" y="597"/>
                </a:lnTo>
                <a:lnTo>
                  <a:pt x="124" y="597"/>
                </a:lnTo>
                <a:lnTo>
                  <a:pt x="132" y="593"/>
                </a:lnTo>
                <a:lnTo>
                  <a:pt x="137" y="608"/>
                </a:lnTo>
                <a:lnTo>
                  <a:pt x="148" y="621"/>
                </a:lnTo>
                <a:lnTo>
                  <a:pt x="167" y="621"/>
                </a:lnTo>
                <a:lnTo>
                  <a:pt x="181" y="617"/>
                </a:lnTo>
                <a:lnTo>
                  <a:pt x="192" y="621"/>
                </a:lnTo>
                <a:lnTo>
                  <a:pt x="163" y="645"/>
                </a:lnTo>
                <a:lnTo>
                  <a:pt x="152" y="651"/>
                </a:lnTo>
                <a:lnTo>
                  <a:pt x="137" y="645"/>
                </a:lnTo>
                <a:lnTo>
                  <a:pt x="104" y="632"/>
                </a:lnTo>
                <a:lnTo>
                  <a:pt x="87" y="632"/>
                </a:lnTo>
                <a:lnTo>
                  <a:pt x="72" y="645"/>
                </a:lnTo>
                <a:lnTo>
                  <a:pt x="52" y="662"/>
                </a:lnTo>
                <a:lnTo>
                  <a:pt x="41" y="671"/>
                </a:lnTo>
                <a:lnTo>
                  <a:pt x="28" y="675"/>
                </a:lnTo>
                <a:lnTo>
                  <a:pt x="13" y="682"/>
                </a:lnTo>
                <a:lnTo>
                  <a:pt x="2" y="691"/>
                </a:lnTo>
                <a:lnTo>
                  <a:pt x="0" y="697"/>
                </a:lnTo>
                <a:lnTo>
                  <a:pt x="13" y="699"/>
                </a:lnTo>
                <a:lnTo>
                  <a:pt x="22" y="708"/>
                </a:lnTo>
                <a:lnTo>
                  <a:pt x="35" y="714"/>
                </a:lnTo>
                <a:lnTo>
                  <a:pt x="48" y="708"/>
                </a:lnTo>
                <a:lnTo>
                  <a:pt x="59" y="702"/>
                </a:lnTo>
                <a:lnTo>
                  <a:pt x="72" y="704"/>
                </a:lnTo>
                <a:lnTo>
                  <a:pt x="91" y="715"/>
                </a:lnTo>
                <a:lnTo>
                  <a:pt x="110" y="723"/>
                </a:lnTo>
                <a:lnTo>
                  <a:pt x="122" y="715"/>
                </a:lnTo>
                <a:lnTo>
                  <a:pt x="128" y="701"/>
                </a:lnTo>
                <a:lnTo>
                  <a:pt x="148" y="689"/>
                </a:lnTo>
                <a:lnTo>
                  <a:pt x="161" y="689"/>
                </a:lnTo>
                <a:lnTo>
                  <a:pt x="173" y="702"/>
                </a:lnTo>
                <a:lnTo>
                  <a:pt x="183" y="710"/>
                </a:lnTo>
                <a:lnTo>
                  <a:pt x="198" y="710"/>
                </a:lnTo>
                <a:lnTo>
                  <a:pt x="218" y="712"/>
                </a:lnTo>
                <a:lnTo>
                  <a:pt x="231" y="717"/>
                </a:lnTo>
                <a:lnTo>
                  <a:pt x="244" y="708"/>
                </a:lnTo>
                <a:lnTo>
                  <a:pt x="255" y="708"/>
                </a:lnTo>
                <a:lnTo>
                  <a:pt x="266" y="714"/>
                </a:lnTo>
                <a:lnTo>
                  <a:pt x="279" y="728"/>
                </a:lnTo>
                <a:lnTo>
                  <a:pt x="296" y="730"/>
                </a:lnTo>
                <a:lnTo>
                  <a:pt x="315" y="734"/>
                </a:lnTo>
                <a:lnTo>
                  <a:pt x="328" y="741"/>
                </a:lnTo>
                <a:lnTo>
                  <a:pt x="344" y="745"/>
                </a:lnTo>
                <a:lnTo>
                  <a:pt x="357" y="738"/>
                </a:lnTo>
                <a:lnTo>
                  <a:pt x="374" y="728"/>
                </a:lnTo>
                <a:lnTo>
                  <a:pt x="385" y="726"/>
                </a:lnTo>
                <a:lnTo>
                  <a:pt x="398" y="723"/>
                </a:lnTo>
                <a:lnTo>
                  <a:pt x="411" y="712"/>
                </a:lnTo>
                <a:lnTo>
                  <a:pt x="402" y="701"/>
                </a:lnTo>
                <a:lnTo>
                  <a:pt x="381" y="689"/>
                </a:lnTo>
                <a:lnTo>
                  <a:pt x="374" y="682"/>
                </a:lnTo>
                <a:lnTo>
                  <a:pt x="374" y="675"/>
                </a:lnTo>
                <a:lnTo>
                  <a:pt x="383" y="667"/>
                </a:lnTo>
                <a:lnTo>
                  <a:pt x="398" y="665"/>
                </a:lnTo>
                <a:lnTo>
                  <a:pt x="413" y="658"/>
                </a:lnTo>
                <a:lnTo>
                  <a:pt x="437" y="632"/>
                </a:lnTo>
                <a:lnTo>
                  <a:pt x="448" y="619"/>
                </a:lnTo>
                <a:lnTo>
                  <a:pt x="452" y="597"/>
                </a:lnTo>
                <a:lnTo>
                  <a:pt x="452" y="584"/>
                </a:lnTo>
                <a:lnTo>
                  <a:pt x="441" y="575"/>
                </a:lnTo>
                <a:lnTo>
                  <a:pt x="426" y="564"/>
                </a:lnTo>
                <a:lnTo>
                  <a:pt x="413" y="558"/>
                </a:lnTo>
                <a:lnTo>
                  <a:pt x="398" y="560"/>
                </a:lnTo>
                <a:lnTo>
                  <a:pt x="389" y="565"/>
                </a:lnTo>
                <a:lnTo>
                  <a:pt x="385" y="556"/>
                </a:lnTo>
                <a:lnTo>
                  <a:pt x="393" y="541"/>
                </a:lnTo>
                <a:lnTo>
                  <a:pt x="396" y="530"/>
                </a:lnTo>
                <a:lnTo>
                  <a:pt x="394" y="510"/>
                </a:lnTo>
                <a:lnTo>
                  <a:pt x="393" y="482"/>
                </a:lnTo>
                <a:lnTo>
                  <a:pt x="398" y="460"/>
                </a:lnTo>
                <a:lnTo>
                  <a:pt x="394" y="447"/>
                </a:lnTo>
                <a:lnTo>
                  <a:pt x="385" y="431"/>
                </a:lnTo>
                <a:lnTo>
                  <a:pt x="363" y="392"/>
                </a:lnTo>
                <a:lnTo>
                  <a:pt x="354" y="374"/>
                </a:lnTo>
                <a:lnTo>
                  <a:pt x="350" y="352"/>
                </a:lnTo>
                <a:lnTo>
                  <a:pt x="348" y="339"/>
                </a:lnTo>
                <a:lnTo>
                  <a:pt x="354" y="317"/>
                </a:lnTo>
                <a:lnTo>
                  <a:pt x="354" y="300"/>
                </a:lnTo>
                <a:lnTo>
                  <a:pt x="350" y="281"/>
                </a:lnTo>
                <a:lnTo>
                  <a:pt x="341" y="272"/>
                </a:lnTo>
                <a:lnTo>
                  <a:pt x="324" y="255"/>
                </a:lnTo>
                <a:lnTo>
                  <a:pt x="311" y="250"/>
                </a:lnTo>
                <a:lnTo>
                  <a:pt x="298" y="248"/>
                </a:lnTo>
                <a:lnTo>
                  <a:pt x="289" y="246"/>
                </a:lnTo>
                <a:lnTo>
                  <a:pt x="289" y="237"/>
                </a:lnTo>
                <a:lnTo>
                  <a:pt x="294" y="230"/>
                </a:lnTo>
                <a:lnTo>
                  <a:pt x="309" y="228"/>
                </a:lnTo>
                <a:lnTo>
                  <a:pt x="322" y="233"/>
                </a:lnTo>
                <a:lnTo>
                  <a:pt x="331" y="235"/>
                </a:lnTo>
                <a:lnTo>
                  <a:pt x="337" y="226"/>
                </a:lnTo>
                <a:lnTo>
                  <a:pt x="335" y="215"/>
                </a:lnTo>
                <a:lnTo>
                  <a:pt x="389" y="165"/>
                </a:lnTo>
                <a:lnTo>
                  <a:pt x="398" y="154"/>
                </a:lnTo>
                <a:lnTo>
                  <a:pt x="398" y="131"/>
                </a:lnTo>
                <a:lnTo>
                  <a:pt x="385" y="120"/>
                </a:lnTo>
                <a:lnTo>
                  <a:pt x="370" y="118"/>
                </a:lnTo>
                <a:lnTo>
                  <a:pt x="357" y="98"/>
                </a:lnTo>
                <a:lnTo>
                  <a:pt x="331" y="98"/>
                </a:lnTo>
                <a:lnTo>
                  <a:pt x="307" y="102"/>
                </a:lnTo>
                <a:lnTo>
                  <a:pt x="302" y="100"/>
                </a:lnTo>
                <a:lnTo>
                  <a:pt x="296" y="91"/>
                </a:lnTo>
                <a:lnTo>
                  <a:pt x="307" y="83"/>
                </a:lnTo>
                <a:lnTo>
                  <a:pt x="318" y="72"/>
                </a:lnTo>
                <a:lnTo>
                  <a:pt x="341" y="52"/>
                </a:lnTo>
                <a:lnTo>
                  <a:pt x="359" y="50"/>
                </a:lnTo>
                <a:lnTo>
                  <a:pt x="376" y="37"/>
                </a:lnTo>
                <a:lnTo>
                  <a:pt x="393" y="24"/>
                </a:lnTo>
                <a:lnTo>
                  <a:pt x="355" y="15"/>
                </a:lnTo>
                <a:lnTo>
                  <a:pt x="339" y="13"/>
                </a:lnTo>
                <a:lnTo>
                  <a:pt x="320" y="11"/>
                </a:lnTo>
                <a:lnTo>
                  <a:pt x="298" y="0"/>
                </a:lnTo>
                <a:lnTo>
                  <a:pt x="278" y="22"/>
                </a:lnTo>
                <a:lnTo>
                  <a:pt x="279" y="33"/>
                </a:lnTo>
                <a:lnTo>
                  <a:pt x="268" y="37"/>
                </a:lnTo>
                <a:lnTo>
                  <a:pt x="250" y="48"/>
                </a:lnTo>
                <a:lnTo>
                  <a:pt x="233" y="54"/>
                </a:lnTo>
                <a:lnTo>
                  <a:pt x="233" y="70"/>
                </a:lnTo>
                <a:lnTo>
                  <a:pt x="231" y="83"/>
                </a:lnTo>
                <a:lnTo>
                  <a:pt x="216" y="104"/>
                </a:lnTo>
                <a:lnTo>
                  <a:pt x="192" y="130"/>
                </a:lnTo>
                <a:lnTo>
                  <a:pt x="183" y="143"/>
                </a:lnTo>
                <a:lnTo>
                  <a:pt x="188" y="152"/>
                </a:lnTo>
                <a:lnTo>
                  <a:pt x="213" y="150"/>
                </a:lnTo>
                <a:lnTo>
                  <a:pt x="214" y="155"/>
                </a:lnTo>
                <a:lnTo>
                  <a:pt x="214" y="165"/>
                </a:lnTo>
                <a:lnTo>
                  <a:pt x="181" y="207"/>
                </a:lnTo>
                <a:lnTo>
                  <a:pt x="169" y="230"/>
                </a:lnTo>
                <a:lnTo>
                  <a:pt x="161" y="250"/>
                </a:lnTo>
                <a:lnTo>
                  <a:pt x="169" y="259"/>
                </a:lnTo>
                <a:lnTo>
                  <a:pt x="185" y="241"/>
                </a:lnTo>
                <a:lnTo>
                  <a:pt x="200" y="220"/>
                </a:lnTo>
                <a:lnTo>
                  <a:pt x="211" y="226"/>
                </a:lnTo>
                <a:lnTo>
                  <a:pt x="213" y="257"/>
                </a:lnTo>
                <a:lnTo>
                  <a:pt x="214" y="278"/>
                </a:lnTo>
                <a:lnTo>
                  <a:pt x="194" y="289"/>
                </a:lnTo>
                <a:lnTo>
                  <a:pt x="181" y="302"/>
                </a:lnTo>
                <a:lnTo>
                  <a:pt x="176" y="313"/>
                </a:lnTo>
                <a:lnTo>
                  <a:pt x="203" y="335"/>
                </a:lnTo>
                <a:lnTo>
                  <a:pt x="226" y="331"/>
                </a:lnTo>
                <a:lnTo>
                  <a:pt x="231" y="344"/>
                </a:lnTo>
                <a:lnTo>
                  <a:pt x="255" y="329"/>
                </a:lnTo>
                <a:lnTo>
                  <a:pt x="253" y="341"/>
                </a:lnTo>
                <a:lnTo>
                  <a:pt x="233" y="365"/>
                </a:lnTo>
                <a:lnTo>
                  <a:pt x="242" y="391"/>
                </a:lnTo>
                <a:lnTo>
                  <a:pt x="244" y="405"/>
                </a:lnTo>
                <a:lnTo>
                  <a:pt x="265" y="407"/>
                </a:lnTo>
                <a:lnTo>
                  <a:pt x="266" y="420"/>
                </a:lnTo>
                <a:lnTo>
                  <a:pt x="242" y="449"/>
                </a:lnTo>
                <a:lnTo>
                  <a:pt x="233" y="445"/>
                </a:lnTo>
                <a:lnTo>
                  <a:pt x="224" y="454"/>
                </a:lnTo>
                <a:lnTo>
                  <a:pt x="222" y="469"/>
                </a:lnTo>
                <a:lnTo>
                  <a:pt x="198" y="456"/>
                </a:lnTo>
                <a:lnTo>
                  <a:pt x="135" y="478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8" name="Freeform 66" descr="Diagonal weit nach oben"/>
          <p:cNvSpPr>
            <a:spLocks noChangeAspect="1"/>
          </p:cNvSpPr>
          <p:nvPr/>
        </p:nvSpPr>
        <p:spPr bwMode="auto">
          <a:xfrm>
            <a:off x="1574651" y="3391247"/>
            <a:ext cx="52388" cy="34925"/>
          </a:xfrm>
          <a:custGeom>
            <a:avLst/>
            <a:gdLst>
              <a:gd name="T0" fmla="*/ 19301 w 38"/>
              <a:gd name="T1" fmla="*/ 0 h 27"/>
              <a:gd name="T2" fmla="*/ 35844 w 38"/>
              <a:gd name="T3" fmla="*/ 2587 h 27"/>
              <a:gd name="T4" fmla="*/ 37223 w 38"/>
              <a:gd name="T5" fmla="*/ 11642 h 27"/>
              <a:gd name="T6" fmla="*/ 20679 w 38"/>
              <a:gd name="T7" fmla="*/ 20696 h 27"/>
              <a:gd name="T8" fmla="*/ 2757 w 38"/>
              <a:gd name="T9" fmla="*/ 24577 h 27"/>
              <a:gd name="T10" fmla="*/ 0 w 38"/>
              <a:gd name="T11" fmla="*/ 14229 h 27"/>
              <a:gd name="T12" fmla="*/ 19301 w 38"/>
              <a:gd name="T13" fmla="*/ 0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8"/>
              <a:gd name="T22" fmla="*/ 0 h 27"/>
              <a:gd name="T23" fmla="*/ 38 w 38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8" h="27">
                <a:moveTo>
                  <a:pt x="20" y="0"/>
                </a:moveTo>
                <a:lnTo>
                  <a:pt x="36" y="2"/>
                </a:lnTo>
                <a:lnTo>
                  <a:pt x="38" y="12"/>
                </a:lnTo>
                <a:lnTo>
                  <a:pt x="21" y="23"/>
                </a:lnTo>
                <a:lnTo>
                  <a:pt x="2" y="27"/>
                </a:lnTo>
                <a:lnTo>
                  <a:pt x="0" y="15"/>
                </a:lnTo>
                <a:lnTo>
                  <a:pt x="20" y="0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59" name="Freeform 67" descr="Diagonal weit nach oben"/>
          <p:cNvSpPr>
            <a:spLocks noChangeAspect="1"/>
          </p:cNvSpPr>
          <p:nvPr/>
        </p:nvSpPr>
        <p:spPr bwMode="auto">
          <a:xfrm>
            <a:off x="1538139" y="3162647"/>
            <a:ext cx="52387" cy="34925"/>
          </a:xfrm>
          <a:custGeom>
            <a:avLst/>
            <a:gdLst>
              <a:gd name="T0" fmla="*/ 33981 w 37"/>
              <a:gd name="T1" fmla="*/ 0 h 27"/>
              <a:gd name="T2" fmla="*/ 39644 w 37"/>
              <a:gd name="T3" fmla="*/ 12935 h 27"/>
              <a:gd name="T4" fmla="*/ 21238 w 37"/>
              <a:gd name="T5" fmla="*/ 20696 h 27"/>
              <a:gd name="T6" fmla="*/ 5663 w 37"/>
              <a:gd name="T7" fmla="*/ 24577 h 27"/>
              <a:gd name="T8" fmla="*/ 0 w 37"/>
              <a:gd name="T9" fmla="*/ 12935 h 27"/>
              <a:gd name="T10" fmla="*/ 8495 w 37"/>
              <a:gd name="T11" fmla="*/ 5174 h 27"/>
              <a:gd name="T12" fmla="*/ 33981 w 37"/>
              <a:gd name="T13" fmla="*/ 0 h 2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7"/>
              <a:gd name="T22" fmla="*/ 0 h 27"/>
              <a:gd name="T23" fmla="*/ 37 w 37"/>
              <a:gd name="T24" fmla="*/ 27 h 2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7" h="27">
                <a:moveTo>
                  <a:pt x="31" y="0"/>
                </a:moveTo>
                <a:lnTo>
                  <a:pt x="37" y="13"/>
                </a:lnTo>
                <a:lnTo>
                  <a:pt x="19" y="23"/>
                </a:lnTo>
                <a:lnTo>
                  <a:pt x="4" y="27"/>
                </a:lnTo>
                <a:lnTo>
                  <a:pt x="0" y="14"/>
                </a:lnTo>
                <a:lnTo>
                  <a:pt x="7" y="5"/>
                </a:lnTo>
                <a:lnTo>
                  <a:pt x="31" y="0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0" name="Freeform 68" descr="Diagonal weit nach oben"/>
          <p:cNvSpPr>
            <a:spLocks noChangeAspect="1"/>
          </p:cNvSpPr>
          <p:nvPr/>
        </p:nvSpPr>
        <p:spPr bwMode="auto">
          <a:xfrm>
            <a:off x="1614339" y="2986435"/>
            <a:ext cx="28575" cy="68262"/>
          </a:xfrm>
          <a:custGeom>
            <a:avLst/>
            <a:gdLst>
              <a:gd name="T0" fmla="*/ 8572 w 20"/>
              <a:gd name="T1" fmla="*/ 49884 h 52"/>
              <a:gd name="T2" fmla="*/ 20002 w 20"/>
              <a:gd name="T3" fmla="*/ 38069 h 52"/>
              <a:gd name="T4" fmla="*/ 17145 w 20"/>
              <a:gd name="T5" fmla="*/ 21004 h 52"/>
              <a:gd name="T6" fmla="*/ 14288 w 20"/>
              <a:gd name="T7" fmla="*/ 13127 h 52"/>
              <a:gd name="T8" fmla="*/ 8572 w 20"/>
              <a:gd name="T9" fmla="*/ 0 h 52"/>
              <a:gd name="T10" fmla="*/ 0 w 20"/>
              <a:gd name="T11" fmla="*/ 6564 h 52"/>
              <a:gd name="T12" fmla="*/ 7144 w 20"/>
              <a:gd name="T13" fmla="*/ 23629 h 52"/>
              <a:gd name="T14" fmla="*/ 8572 w 20"/>
              <a:gd name="T15" fmla="*/ 49884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0"/>
              <a:gd name="T25" fmla="*/ 0 h 52"/>
              <a:gd name="T26" fmla="*/ 20 w 20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0" h="52">
                <a:moveTo>
                  <a:pt x="9" y="52"/>
                </a:moveTo>
                <a:lnTo>
                  <a:pt x="20" y="39"/>
                </a:lnTo>
                <a:lnTo>
                  <a:pt x="16" y="22"/>
                </a:lnTo>
                <a:lnTo>
                  <a:pt x="13" y="13"/>
                </a:lnTo>
                <a:lnTo>
                  <a:pt x="9" y="0"/>
                </a:lnTo>
                <a:lnTo>
                  <a:pt x="0" y="6"/>
                </a:lnTo>
                <a:lnTo>
                  <a:pt x="5" y="24"/>
                </a:lnTo>
                <a:lnTo>
                  <a:pt x="9" y="52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1" name="Freeform 69" descr="Diagonal weit nach oben"/>
          <p:cNvSpPr>
            <a:spLocks noChangeAspect="1"/>
          </p:cNvSpPr>
          <p:nvPr/>
        </p:nvSpPr>
        <p:spPr bwMode="auto">
          <a:xfrm>
            <a:off x="1411139" y="3249960"/>
            <a:ext cx="133350" cy="128587"/>
          </a:xfrm>
          <a:custGeom>
            <a:avLst/>
            <a:gdLst>
              <a:gd name="T0" fmla="*/ 32994 w 97"/>
              <a:gd name="T1" fmla="*/ 0 h 99"/>
              <a:gd name="T2" fmla="*/ 54990 w 97"/>
              <a:gd name="T3" fmla="*/ 0 h 99"/>
              <a:gd name="T4" fmla="*/ 71487 w 97"/>
              <a:gd name="T5" fmla="*/ 5195 h 99"/>
              <a:gd name="T6" fmla="*/ 82485 w 97"/>
              <a:gd name="T7" fmla="*/ 18184 h 99"/>
              <a:gd name="T8" fmla="*/ 93482 w 97"/>
              <a:gd name="T9" fmla="*/ 42862 h 99"/>
              <a:gd name="T10" fmla="*/ 96232 w 97"/>
              <a:gd name="T11" fmla="*/ 63644 h 99"/>
              <a:gd name="T12" fmla="*/ 85234 w 97"/>
              <a:gd name="T13" fmla="*/ 75334 h 99"/>
              <a:gd name="T14" fmla="*/ 81110 w 97"/>
              <a:gd name="T15" fmla="*/ 88322 h 99"/>
              <a:gd name="T16" fmla="*/ 70112 w 97"/>
              <a:gd name="T17" fmla="*/ 93518 h 99"/>
              <a:gd name="T18" fmla="*/ 59114 w 97"/>
              <a:gd name="T19" fmla="*/ 80529 h 99"/>
              <a:gd name="T20" fmla="*/ 49491 w 97"/>
              <a:gd name="T21" fmla="*/ 58449 h 99"/>
              <a:gd name="T22" fmla="*/ 42617 w 97"/>
              <a:gd name="T23" fmla="*/ 50655 h 99"/>
              <a:gd name="T24" fmla="*/ 24745 w 97"/>
              <a:gd name="T25" fmla="*/ 48058 h 99"/>
              <a:gd name="T26" fmla="*/ 0 w 97"/>
              <a:gd name="T27" fmla="*/ 24678 h 99"/>
              <a:gd name="T28" fmla="*/ 32994 w 97"/>
              <a:gd name="T29" fmla="*/ 0 h 9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97"/>
              <a:gd name="T46" fmla="*/ 0 h 99"/>
              <a:gd name="T47" fmla="*/ 97 w 97"/>
              <a:gd name="T48" fmla="*/ 99 h 9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97" h="99">
                <a:moveTo>
                  <a:pt x="34" y="0"/>
                </a:moveTo>
                <a:lnTo>
                  <a:pt x="56" y="0"/>
                </a:lnTo>
                <a:lnTo>
                  <a:pt x="73" y="4"/>
                </a:lnTo>
                <a:lnTo>
                  <a:pt x="84" y="20"/>
                </a:lnTo>
                <a:lnTo>
                  <a:pt x="95" y="46"/>
                </a:lnTo>
                <a:lnTo>
                  <a:pt x="97" y="68"/>
                </a:lnTo>
                <a:lnTo>
                  <a:pt x="86" y="79"/>
                </a:lnTo>
                <a:lnTo>
                  <a:pt x="82" y="94"/>
                </a:lnTo>
                <a:lnTo>
                  <a:pt x="71" y="99"/>
                </a:lnTo>
                <a:lnTo>
                  <a:pt x="60" y="86"/>
                </a:lnTo>
                <a:lnTo>
                  <a:pt x="50" y="62"/>
                </a:lnTo>
                <a:lnTo>
                  <a:pt x="43" y="53"/>
                </a:lnTo>
                <a:lnTo>
                  <a:pt x="24" y="51"/>
                </a:lnTo>
                <a:lnTo>
                  <a:pt x="0" y="26"/>
                </a:lnTo>
                <a:lnTo>
                  <a:pt x="34" y="0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2" name="Freeform 70" descr="Diagonal weit nach oben"/>
          <p:cNvSpPr>
            <a:spLocks noChangeAspect="1"/>
          </p:cNvSpPr>
          <p:nvPr/>
        </p:nvSpPr>
        <p:spPr bwMode="auto">
          <a:xfrm>
            <a:off x="1609576" y="2911822"/>
            <a:ext cx="68263" cy="47625"/>
          </a:xfrm>
          <a:custGeom>
            <a:avLst/>
            <a:gdLst>
              <a:gd name="T0" fmla="*/ 43688 w 50"/>
              <a:gd name="T1" fmla="*/ 0 h 37"/>
              <a:gd name="T2" fmla="*/ 50515 w 50"/>
              <a:gd name="T3" fmla="*/ 7723 h 37"/>
              <a:gd name="T4" fmla="*/ 31401 w 50"/>
              <a:gd name="T5" fmla="*/ 18020 h 37"/>
              <a:gd name="T6" fmla="*/ 13653 w 50"/>
              <a:gd name="T7" fmla="*/ 33466 h 37"/>
              <a:gd name="T8" fmla="*/ 2731 w 50"/>
              <a:gd name="T9" fmla="*/ 29605 h 37"/>
              <a:gd name="T10" fmla="*/ 0 w 50"/>
              <a:gd name="T11" fmla="*/ 12872 h 37"/>
              <a:gd name="T12" fmla="*/ 0 w 50"/>
              <a:gd name="T13" fmla="*/ 5149 h 37"/>
              <a:gd name="T14" fmla="*/ 30036 w 50"/>
              <a:gd name="T15" fmla="*/ 0 h 37"/>
              <a:gd name="T16" fmla="*/ 43688 w 50"/>
              <a:gd name="T17" fmla="*/ 0 h 3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0"/>
              <a:gd name="T28" fmla="*/ 0 h 37"/>
              <a:gd name="T29" fmla="*/ 50 w 50"/>
              <a:gd name="T30" fmla="*/ 37 h 3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0" h="37">
                <a:moveTo>
                  <a:pt x="44" y="0"/>
                </a:moveTo>
                <a:lnTo>
                  <a:pt x="50" y="9"/>
                </a:lnTo>
                <a:lnTo>
                  <a:pt x="31" y="20"/>
                </a:lnTo>
                <a:lnTo>
                  <a:pt x="13" y="37"/>
                </a:lnTo>
                <a:lnTo>
                  <a:pt x="2" y="33"/>
                </a:lnTo>
                <a:lnTo>
                  <a:pt x="0" y="13"/>
                </a:lnTo>
                <a:lnTo>
                  <a:pt x="0" y="6"/>
                </a:lnTo>
                <a:lnTo>
                  <a:pt x="30" y="0"/>
                </a:lnTo>
                <a:lnTo>
                  <a:pt x="44" y="0"/>
                </a:lnTo>
                <a:close/>
              </a:path>
            </a:pathLst>
          </a:custGeom>
          <a:pattFill prst="wdUpDiag">
            <a:fgClr>
              <a:srgbClr val="66FF66"/>
            </a:fgClr>
            <a:bgClr>
              <a:srgbClr val="FF3300"/>
            </a:bgClr>
          </a:patt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3" name="Freeform 71"/>
          <p:cNvSpPr>
            <a:spLocks noChangeAspect="1"/>
          </p:cNvSpPr>
          <p:nvPr/>
        </p:nvSpPr>
        <p:spPr bwMode="auto">
          <a:xfrm>
            <a:off x="3893989" y="5056535"/>
            <a:ext cx="274637" cy="220662"/>
          </a:xfrm>
          <a:custGeom>
            <a:avLst/>
            <a:gdLst>
              <a:gd name="T0" fmla="*/ 34502 w 199"/>
              <a:gd name="T1" fmla="*/ 25808 h 171"/>
              <a:gd name="T2" fmla="*/ 31742 w 199"/>
              <a:gd name="T3" fmla="*/ 65811 h 171"/>
              <a:gd name="T4" fmla="*/ 0 w 199"/>
              <a:gd name="T5" fmla="*/ 108395 h 171"/>
              <a:gd name="T6" fmla="*/ 5520 w 199"/>
              <a:gd name="T7" fmla="*/ 116138 h 171"/>
              <a:gd name="T8" fmla="*/ 42783 w 199"/>
              <a:gd name="T9" fmla="*/ 113557 h 171"/>
              <a:gd name="T10" fmla="*/ 26222 w 199"/>
              <a:gd name="T11" fmla="*/ 132913 h 171"/>
              <a:gd name="T12" fmla="*/ 17941 w 199"/>
              <a:gd name="T13" fmla="*/ 139365 h 171"/>
              <a:gd name="T14" fmla="*/ 22081 w 199"/>
              <a:gd name="T15" fmla="*/ 158722 h 171"/>
              <a:gd name="T16" fmla="*/ 49683 w 199"/>
              <a:gd name="T17" fmla="*/ 127752 h 171"/>
              <a:gd name="T18" fmla="*/ 67624 w 199"/>
              <a:gd name="T19" fmla="*/ 120009 h 171"/>
              <a:gd name="T20" fmla="*/ 96606 w 199"/>
              <a:gd name="T21" fmla="*/ 82587 h 171"/>
              <a:gd name="T22" fmla="*/ 132488 w 199"/>
              <a:gd name="T23" fmla="*/ 65811 h 171"/>
              <a:gd name="T24" fmla="*/ 186312 w 199"/>
              <a:gd name="T25" fmla="*/ 63231 h 171"/>
              <a:gd name="T26" fmla="*/ 200112 w 199"/>
              <a:gd name="T27" fmla="*/ 58069 h 171"/>
              <a:gd name="T28" fmla="*/ 197352 w 199"/>
              <a:gd name="T29" fmla="*/ 49036 h 171"/>
              <a:gd name="T30" fmla="*/ 172511 w 199"/>
              <a:gd name="T31" fmla="*/ 27099 h 171"/>
              <a:gd name="T32" fmla="*/ 158710 w 199"/>
              <a:gd name="T33" fmla="*/ 29680 h 171"/>
              <a:gd name="T34" fmla="*/ 154570 w 199"/>
              <a:gd name="T35" fmla="*/ 24518 h 171"/>
              <a:gd name="T36" fmla="*/ 139389 w 199"/>
              <a:gd name="T37" fmla="*/ 24518 h 171"/>
              <a:gd name="T38" fmla="*/ 117307 w 199"/>
              <a:gd name="T39" fmla="*/ 2581 h 171"/>
              <a:gd name="T40" fmla="*/ 93846 w 199"/>
              <a:gd name="T41" fmla="*/ 0 h 171"/>
              <a:gd name="T42" fmla="*/ 71764 w 199"/>
              <a:gd name="T43" fmla="*/ 5162 h 171"/>
              <a:gd name="T44" fmla="*/ 52443 w 199"/>
              <a:gd name="T45" fmla="*/ 14195 h 171"/>
              <a:gd name="T46" fmla="*/ 34502 w 199"/>
              <a:gd name="T47" fmla="*/ 25808 h 17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99"/>
              <a:gd name="T73" fmla="*/ 0 h 171"/>
              <a:gd name="T74" fmla="*/ 199 w 199"/>
              <a:gd name="T75" fmla="*/ 171 h 17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99" h="171">
                <a:moveTo>
                  <a:pt x="35" y="28"/>
                </a:moveTo>
                <a:lnTo>
                  <a:pt x="32" y="71"/>
                </a:lnTo>
                <a:lnTo>
                  <a:pt x="0" y="117"/>
                </a:lnTo>
                <a:lnTo>
                  <a:pt x="7" y="126"/>
                </a:lnTo>
                <a:lnTo>
                  <a:pt x="43" y="123"/>
                </a:lnTo>
                <a:lnTo>
                  <a:pt x="26" y="143"/>
                </a:lnTo>
                <a:lnTo>
                  <a:pt x="19" y="151"/>
                </a:lnTo>
                <a:lnTo>
                  <a:pt x="22" y="171"/>
                </a:lnTo>
                <a:lnTo>
                  <a:pt x="50" y="139"/>
                </a:lnTo>
                <a:lnTo>
                  <a:pt x="67" y="130"/>
                </a:lnTo>
                <a:lnTo>
                  <a:pt x="97" y="91"/>
                </a:lnTo>
                <a:lnTo>
                  <a:pt x="132" y="71"/>
                </a:lnTo>
                <a:lnTo>
                  <a:pt x="186" y="69"/>
                </a:lnTo>
                <a:lnTo>
                  <a:pt x="199" y="63"/>
                </a:lnTo>
                <a:lnTo>
                  <a:pt x="197" y="52"/>
                </a:lnTo>
                <a:lnTo>
                  <a:pt x="171" y="30"/>
                </a:lnTo>
                <a:lnTo>
                  <a:pt x="158" y="32"/>
                </a:lnTo>
                <a:lnTo>
                  <a:pt x="154" y="26"/>
                </a:lnTo>
                <a:lnTo>
                  <a:pt x="139" y="26"/>
                </a:lnTo>
                <a:lnTo>
                  <a:pt x="117" y="2"/>
                </a:lnTo>
                <a:lnTo>
                  <a:pt x="93" y="0"/>
                </a:lnTo>
                <a:lnTo>
                  <a:pt x="71" y="6"/>
                </a:lnTo>
                <a:lnTo>
                  <a:pt x="52" y="15"/>
                </a:lnTo>
                <a:lnTo>
                  <a:pt x="35" y="28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4" name="Freeform 72"/>
          <p:cNvSpPr>
            <a:spLocks noChangeAspect="1"/>
          </p:cNvSpPr>
          <p:nvPr/>
        </p:nvSpPr>
        <p:spPr bwMode="auto">
          <a:xfrm>
            <a:off x="3936851" y="4845397"/>
            <a:ext cx="1833563" cy="869950"/>
          </a:xfrm>
          <a:custGeom>
            <a:avLst/>
            <a:gdLst>
              <a:gd name="T0" fmla="*/ 218543 w 1334"/>
              <a:gd name="T1" fmla="*/ 237613 h 670"/>
              <a:gd name="T2" fmla="*/ 184181 w 1334"/>
              <a:gd name="T3" fmla="*/ 216838 h 670"/>
              <a:gd name="T4" fmla="*/ 281769 w 1334"/>
              <a:gd name="T5" fmla="*/ 184377 h 670"/>
              <a:gd name="T6" fmla="*/ 346370 w 1334"/>
              <a:gd name="T7" fmla="*/ 158409 h 670"/>
              <a:gd name="T8" fmla="*/ 420592 w 1334"/>
              <a:gd name="T9" fmla="*/ 103875 h 670"/>
              <a:gd name="T10" fmla="*/ 538798 w 1334"/>
              <a:gd name="T11" fmla="*/ 75309 h 670"/>
              <a:gd name="T12" fmla="*/ 580033 w 1334"/>
              <a:gd name="T13" fmla="*/ 101278 h 670"/>
              <a:gd name="T14" fmla="*/ 639135 w 1334"/>
              <a:gd name="T15" fmla="*/ 110367 h 670"/>
              <a:gd name="T16" fmla="*/ 678996 w 1334"/>
              <a:gd name="T17" fmla="*/ 105173 h 670"/>
              <a:gd name="T18" fmla="*/ 816444 w 1334"/>
              <a:gd name="T19" fmla="*/ 112964 h 670"/>
              <a:gd name="T20" fmla="*/ 863177 w 1334"/>
              <a:gd name="T21" fmla="*/ 85697 h 670"/>
              <a:gd name="T22" fmla="*/ 936024 w 1334"/>
              <a:gd name="T23" fmla="*/ 72712 h 670"/>
              <a:gd name="T24" fmla="*/ 975884 w 1334"/>
              <a:gd name="T25" fmla="*/ 24670 h 670"/>
              <a:gd name="T26" fmla="*/ 1043234 w 1334"/>
              <a:gd name="T27" fmla="*/ 24670 h 670"/>
              <a:gd name="T28" fmla="*/ 1083094 w 1334"/>
              <a:gd name="T29" fmla="*/ 5194 h 670"/>
              <a:gd name="T30" fmla="*/ 1157316 w 1334"/>
              <a:gd name="T31" fmla="*/ 79204 h 670"/>
              <a:gd name="T32" fmla="*/ 1227415 w 1334"/>
              <a:gd name="T33" fmla="*/ 158409 h 670"/>
              <a:gd name="T34" fmla="*/ 1272773 w 1334"/>
              <a:gd name="T35" fmla="*/ 214241 h 670"/>
              <a:gd name="T36" fmla="*/ 1305761 w 1334"/>
              <a:gd name="T37" fmla="*/ 263582 h 670"/>
              <a:gd name="T38" fmla="*/ 1331876 w 1334"/>
              <a:gd name="T39" fmla="*/ 320713 h 670"/>
              <a:gd name="T40" fmla="*/ 1261777 w 1334"/>
              <a:gd name="T41" fmla="*/ 337593 h 670"/>
              <a:gd name="T42" fmla="*/ 1227415 w 1334"/>
              <a:gd name="T43" fmla="*/ 341488 h 670"/>
              <a:gd name="T44" fmla="*/ 1183431 w 1334"/>
              <a:gd name="T45" fmla="*/ 333697 h 670"/>
              <a:gd name="T46" fmla="*/ 1149069 w 1334"/>
              <a:gd name="T47" fmla="*/ 359666 h 670"/>
              <a:gd name="T48" fmla="*/ 1094090 w 1334"/>
              <a:gd name="T49" fmla="*/ 370053 h 670"/>
              <a:gd name="T50" fmla="*/ 1058353 w 1334"/>
              <a:gd name="T51" fmla="*/ 403813 h 670"/>
              <a:gd name="T52" fmla="*/ 975884 w 1334"/>
              <a:gd name="T53" fmla="*/ 444064 h 670"/>
              <a:gd name="T54" fmla="*/ 922279 w 1334"/>
              <a:gd name="T55" fmla="*/ 459645 h 670"/>
              <a:gd name="T56" fmla="*/ 872798 w 1334"/>
              <a:gd name="T57" fmla="*/ 459645 h 670"/>
              <a:gd name="T58" fmla="*/ 775210 w 1334"/>
              <a:gd name="T59" fmla="*/ 464839 h 670"/>
              <a:gd name="T60" fmla="*/ 761465 w 1334"/>
              <a:gd name="T61" fmla="*/ 511583 h 670"/>
              <a:gd name="T62" fmla="*/ 705111 w 1334"/>
              <a:gd name="T63" fmla="*/ 531059 h 670"/>
              <a:gd name="T64" fmla="*/ 713358 w 1334"/>
              <a:gd name="T65" fmla="*/ 493404 h 670"/>
              <a:gd name="T66" fmla="*/ 684493 w 1334"/>
              <a:gd name="T67" fmla="*/ 503792 h 670"/>
              <a:gd name="T68" fmla="*/ 608897 w 1334"/>
              <a:gd name="T69" fmla="*/ 511583 h 670"/>
              <a:gd name="T70" fmla="*/ 560790 w 1334"/>
              <a:gd name="T71" fmla="*/ 570012 h 670"/>
              <a:gd name="T72" fmla="*/ 417843 w 1334"/>
              <a:gd name="T73" fmla="*/ 559625 h 670"/>
              <a:gd name="T74" fmla="*/ 331251 w 1334"/>
              <a:gd name="T75" fmla="*/ 545342 h 670"/>
              <a:gd name="T76" fmla="*/ 316132 w 1334"/>
              <a:gd name="T77" fmla="*/ 593384 h 670"/>
              <a:gd name="T78" fmla="*/ 263901 w 1334"/>
              <a:gd name="T79" fmla="*/ 624546 h 670"/>
              <a:gd name="T80" fmla="*/ 232288 w 1334"/>
              <a:gd name="T81" fmla="*/ 603771 h 670"/>
              <a:gd name="T82" fmla="*/ 184181 w 1334"/>
              <a:gd name="T83" fmla="*/ 575206 h 670"/>
              <a:gd name="T84" fmla="*/ 148444 w 1334"/>
              <a:gd name="T85" fmla="*/ 562221 h 670"/>
              <a:gd name="T86" fmla="*/ 115457 w 1334"/>
              <a:gd name="T87" fmla="*/ 549237 h 670"/>
              <a:gd name="T88" fmla="*/ 94839 w 1334"/>
              <a:gd name="T89" fmla="*/ 528462 h 670"/>
              <a:gd name="T90" fmla="*/ 83844 w 1334"/>
              <a:gd name="T91" fmla="*/ 496001 h 670"/>
              <a:gd name="T92" fmla="*/ 15119 w 1334"/>
              <a:gd name="T93" fmla="*/ 441467 h 670"/>
              <a:gd name="T94" fmla="*/ 37111 w 1334"/>
              <a:gd name="T95" fmla="*/ 433677 h 670"/>
              <a:gd name="T96" fmla="*/ 37111 w 1334"/>
              <a:gd name="T97" fmla="*/ 385635 h 670"/>
              <a:gd name="T98" fmla="*/ 5498 w 1334"/>
              <a:gd name="T99" fmla="*/ 359666 h 670"/>
              <a:gd name="T100" fmla="*/ 30239 w 1334"/>
              <a:gd name="T101" fmla="*/ 279163 h 670"/>
              <a:gd name="T102" fmla="*/ 74222 w 1334"/>
              <a:gd name="T103" fmla="*/ 285655 h 670"/>
              <a:gd name="T104" fmla="*/ 105835 w 1334"/>
              <a:gd name="T105" fmla="*/ 268776 h 67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334"/>
              <a:gd name="T160" fmla="*/ 0 h 670"/>
              <a:gd name="T161" fmla="*/ 1334 w 1334"/>
              <a:gd name="T162" fmla="*/ 670 h 67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334" h="670">
                <a:moveTo>
                  <a:pt x="178" y="284"/>
                </a:moveTo>
                <a:lnTo>
                  <a:pt x="182" y="259"/>
                </a:lnTo>
                <a:lnTo>
                  <a:pt x="219" y="255"/>
                </a:lnTo>
                <a:lnTo>
                  <a:pt x="229" y="255"/>
                </a:lnTo>
                <a:lnTo>
                  <a:pt x="211" y="240"/>
                </a:lnTo>
                <a:lnTo>
                  <a:pt x="185" y="233"/>
                </a:lnTo>
                <a:lnTo>
                  <a:pt x="185" y="218"/>
                </a:lnTo>
                <a:lnTo>
                  <a:pt x="239" y="203"/>
                </a:lnTo>
                <a:lnTo>
                  <a:pt x="283" y="199"/>
                </a:lnTo>
                <a:lnTo>
                  <a:pt x="313" y="184"/>
                </a:lnTo>
                <a:lnTo>
                  <a:pt x="332" y="192"/>
                </a:lnTo>
                <a:lnTo>
                  <a:pt x="346" y="170"/>
                </a:lnTo>
                <a:lnTo>
                  <a:pt x="381" y="140"/>
                </a:lnTo>
                <a:lnTo>
                  <a:pt x="403" y="121"/>
                </a:lnTo>
                <a:lnTo>
                  <a:pt x="421" y="110"/>
                </a:lnTo>
                <a:lnTo>
                  <a:pt x="455" y="110"/>
                </a:lnTo>
                <a:lnTo>
                  <a:pt x="488" y="100"/>
                </a:lnTo>
                <a:lnTo>
                  <a:pt x="540" y="82"/>
                </a:lnTo>
                <a:lnTo>
                  <a:pt x="551" y="82"/>
                </a:lnTo>
                <a:lnTo>
                  <a:pt x="566" y="96"/>
                </a:lnTo>
                <a:lnTo>
                  <a:pt x="581" y="108"/>
                </a:lnTo>
                <a:lnTo>
                  <a:pt x="603" y="96"/>
                </a:lnTo>
                <a:lnTo>
                  <a:pt x="625" y="108"/>
                </a:lnTo>
                <a:lnTo>
                  <a:pt x="640" y="118"/>
                </a:lnTo>
                <a:lnTo>
                  <a:pt x="659" y="121"/>
                </a:lnTo>
                <a:lnTo>
                  <a:pt x="670" y="129"/>
                </a:lnTo>
                <a:lnTo>
                  <a:pt x="681" y="114"/>
                </a:lnTo>
                <a:lnTo>
                  <a:pt x="714" y="125"/>
                </a:lnTo>
                <a:lnTo>
                  <a:pt x="770" y="129"/>
                </a:lnTo>
                <a:lnTo>
                  <a:pt x="818" y="121"/>
                </a:lnTo>
                <a:lnTo>
                  <a:pt x="840" y="110"/>
                </a:lnTo>
                <a:lnTo>
                  <a:pt x="851" y="104"/>
                </a:lnTo>
                <a:lnTo>
                  <a:pt x="866" y="93"/>
                </a:lnTo>
                <a:lnTo>
                  <a:pt x="893" y="100"/>
                </a:lnTo>
                <a:lnTo>
                  <a:pt x="915" y="96"/>
                </a:lnTo>
                <a:lnTo>
                  <a:pt x="938" y="78"/>
                </a:lnTo>
                <a:lnTo>
                  <a:pt x="971" y="56"/>
                </a:lnTo>
                <a:lnTo>
                  <a:pt x="975" y="41"/>
                </a:lnTo>
                <a:lnTo>
                  <a:pt x="978" y="26"/>
                </a:lnTo>
                <a:lnTo>
                  <a:pt x="997" y="22"/>
                </a:lnTo>
                <a:lnTo>
                  <a:pt x="1015" y="26"/>
                </a:lnTo>
                <a:lnTo>
                  <a:pt x="1045" y="26"/>
                </a:lnTo>
                <a:lnTo>
                  <a:pt x="1056" y="15"/>
                </a:lnTo>
                <a:lnTo>
                  <a:pt x="1071" y="0"/>
                </a:lnTo>
                <a:lnTo>
                  <a:pt x="1086" y="4"/>
                </a:lnTo>
                <a:lnTo>
                  <a:pt x="1093" y="19"/>
                </a:lnTo>
                <a:lnTo>
                  <a:pt x="1134" y="26"/>
                </a:lnTo>
                <a:lnTo>
                  <a:pt x="1160" y="85"/>
                </a:lnTo>
                <a:lnTo>
                  <a:pt x="1241" y="89"/>
                </a:lnTo>
                <a:lnTo>
                  <a:pt x="1267" y="121"/>
                </a:lnTo>
                <a:lnTo>
                  <a:pt x="1230" y="170"/>
                </a:lnTo>
                <a:lnTo>
                  <a:pt x="1249" y="184"/>
                </a:lnTo>
                <a:lnTo>
                  <a:pt x="1245" y="218"/>
                </a:lnTo>
                <a:lnTo>
                  <a:pt x="1275" y="229"/>
                </a:lnTo>
                <a:lnTo>
                  <a:pt x="1260" y="277"/>
                </a:lnTo>
                <a:lnTo>
                  <a:pt x="1282" y="277"/>
                </a:lnTo>
                <a:lnTo>
                  <a:pt x="1308" y="284"/>
                </a:lnTo>
                <a:lnTo>
                  <a:pt x="1304" y="299"/>
                </a:lnTo>
                <a:lnTo>
                  <a:pt x="1312" y="322"/>
                </a:lnTo>
                <a:lnTo>
                  <a:pt x="1334" y="344"/>
                </a:lnTo>
                <a:lnTo>
                  <a:pt x="1319" y="351"/>
                </a:lnTo>
                <a:lnTo>
                  <a:pt x="1301" y="355"/>
                </a:lnTo>
                <a:lnTo>
                  <a:pt x="1264" y="362"/>
                </a:lnTo>
                <a:lnTo>
                  <a:pt x="1249" y="370"/>
                </a:lnTo>
                <a:lnTo>
                  <a:pt x="1230" y="355"/>
                </a:lnTo>
                <a:lnTo>
                  <a:pt x="1230" y="366"/>
                </a:lnTo>
                <a:lnTo>
                  <a:pt x="1219" y="373"/>
                </a:lnTo>
                <a:lnTo>
                  <a:pt x="1201" y="377"/>
                </a:lnTo>
                <a:lnTo>
                  <a:pt x="1186" y="359"/>
                </a:lnTo>
                <a:lnTo>
                  <a:pt x="1164" y="370"/>
                </a:lnTo>
                <a:lnTo>
                  <a:pt x="1171" y="385"/>
                </a:lnTo>
                <a:lnTo>
                  <a:pt x="1152" y="385"/>
                </a:lnTo>
                <a:lnTo>
                  <a:pt x="1123" y="385"/>
                </a:lnTo>
                <a:lnTo>
                  <a:pt x="1112" y="399"/>
                </a:lnTo>
                <a:lnTo>
                  <a:pt x="1097" y="396"/>
                </a:lnTo>
                <a:lnTo>
                  <a:pt x="1082" y="399"/>
                </a:lnTo>
                <a:lnTo>
                  <a:pt x="1082" y="410"/>
                </a:lnTo>
                <a:lnTo>
                  <a:pt x="1060" y="433"/>
                </a:lnTo>
                <a:lnTo>
                  <a:pt x="1030" y="459"/>
                </a:lnTo>
                <a:lnTo>
                  <a:pt x="982" y="462"/>
                </a:lnTo>
                <a:lnTo>
                  <a:pt x="978" y="477"/>
                </a:lnTo>
                <a:lnTo>
                  <a:pt x="975" y="485"/>
                </a:lnTo>
                <a:lnTo>
                  <a:pt x="949" y="485"/>
                </a:lnTo>
                <a:lnTo>
                  <a:pt x="923" y="492"/>
                </a:lnTo>
                <a:lnTo>
                  <a:pt x="900" y="485"/>
                </a:lnTo>
                <a:lnTo>
                  <a:pt x="889" y="477"/>
                </a:lnTo>
                <a:lnTo>
                  <a:pt x="875" y="492"/>
                </a:lnTo>
                <a:lnTo>
                  <a:pt x="840" y="507"/>
                </a:lnTo>
                <a:lnTo>
                  <a:pt x="799" y="507"/>
                </a:lnTo>
                <a:lnTo>
                  <a:pt x="777" y="499"/>
                </a:lnTo>
                <a:lnTo>
                  <a:pt x="759" y="518"/>
                </a:lnTo>
                <a:lnTo>
                  <a:pt x="762" y="548"/>
                </a:lnTo>
                <a:lnTo>
                  <a:pt x="740" y="588"/>
                </a:lnTo>
                <a:lnTo>
                  <a:pt x="722" y="596"/>
                </a:lnTo>
                <a:lnTo>
                  <a:pt x="707" y="570"/>
                </a:lnTo>
                <a:lnTo>
                  <a:pt x="699" y="559"/>
                </a:lnTo>
                <a:lnTo>
                  <a:pt x="707" y="540"/>
                </a:lnTo>
                <a:lnTo>
                  <a:pt x="714" y="529"/>
                </a:lnTo>
                <a:lnTo>
                  <a:pt x="707" y="522"/>
                </a:lnTo>
                <a:lnTo>
                  <a:pt x="696" y="522"/>
                </a:lnTo>
                <a:lnTo>
                  <a:pt x="685" y="540"/>
                </a:lnTo>
                <a:lnTo>
                  <a:pt x="662" y="559"/>
                </a:lnTo>
                <a:lnTo>
                  <a:pt x="640" y="551"/>
                </a:lnTo>
                <a:lnTo>
                  <a:pt x="610" y="548"/>
                </a:lnTo>
                <a:lnTo>
                  <a:pt x="577" y="592"/>
                </a:lnTo>
                <a:lnTo>
                  <a:pt x="566" y="600"/>
                </a:lnTo>
                <a:lnTo>
                  <a:pt x="562" y="611"/>
                </a:lnTo>
                <a:lnTo>
                  <a:pt x="514" y="626"/>
                </a:lnTo>
                <a:lnTo>
                  <a:pt x="503" y="626"/>
                </a:lnTo>
                <a:lnTo>
                  <a:pt x="418" y="600"/>
                </a:lnTo>
                <a:lnTo>
                  <a:pt x="392" y="596"/>
                </a:lnTo>
                <a:lnTo>
                  <a:pt x="362" y="588"/>
                </a:lnTo>
                <a:lnTo>
                  <a:pt x="332" y="585"/>
                </a:lnTo>
                <a:lnTo>
                  <a:pt x="324" y="603"/>
                </a:lnTo>
                <a:lnTo>
                  <a:pt x="320" y="629"/>
                </a:lnTo>
                <a:lnTo>
                  <a:pt x="317" y="637"/>
                </a:lnTo>
                <a:lnTo>
                  <a:pt x="294" y="644"/>
                </a:lnTo>
                <a:lnTo>
                  <a:pt x="291" y="644"/>
                </a:lnTo>
                <a:lnTo>
                  <a:pt x="265" y="670"/>
                </a:lnTo>
                <a:lnTo>
                  <a:pt x="250" y="670"/>
                </a:lnTo>
                <a:lnTo>
                  <a:pt x="243" y="651"/>
                </a:lnTo>
                <a:lnTo>
                  <a:pt x="232" y="648"/>
                </a:lnTo>
                <a:lnTo>
                  <a:pt x="219" y="637"/>
                </a:lnTo>
                <a:lnTo>
                  <a:pt x="215" y="622"/>
                </a:lnTo>
                <a:lnTo>
                  <a:pt x="185" y="618"/>
                </a:lnTo>
                <a:lnTo>
                  <a:pt x="170" y="611"/>
                </a:lnTo>
                <a:lnTo>
                  <a:pt x="167" y="603"/>
                </a:lnTo>
                <a:lnTo>
                  <a:pt x="148" y="603"/>
                </a:lnTo>
                <a:lnTo>
                  <a:pt x="133" y="588"/>
                </a:lnTo>
                <a:lnTo>
                  <a:pt x="130" y="581"/>
                </a:lnTo>
                <a:lnTo>
                  <a:pt x="115" y="588"/>
                </a:lnTo>
                <a:lnTo>
                  <a:pt x="100" y="585"/>
                </a:lnTo>
                <a:lnTo>
                  <a:pt x="93" y="581"/>
                </a:lnTo>
                <a:lnTo>
                  <a:pt x="96" y="566"/>
                </a:lnTo>
                <a:lnTo>
                  <a:pt x="74" y="551"/>
                </a:lnTo>
                <a:lnTo>
                  <a:pt x="78" y="540"/>
                </a:lnTo>
                <a:lnTo>
                  <a:pt x="85" y="533"/>
                </a:lnTo>
                <a:lnTo>
                  <a:pt x="63" y="518"/>
                </a:lnTo>
                <a:lnTo>
                  <a:pt x="7" y="496"/>
                </a:lnTo>
                <a:lnTo>
                  <a:pt x="15" y="474"/>
                </a:lnTo>
                <a:lnTo>
                  <a:pt x="33" y="474"/>
                </a:lnTo>
                <a:lnTo>
                  <a:pt x="41" y="488"/>
                </a:lnTo>
                <a:lnTo>
                  <a:pt x="37" y="466"/>
                </a:lnTo>
                <a:lnTo>
                  <a:pt x="48" y="448"/>
                </a:lnTo>
                <a:lnTo>
                  <a:pt x="56" y="429"/>
                </a:lnTo>
                <a:lnTo>
                  <a:pt x="37" y="414"/>
                </a:lnTo>
                <a:lnTo>
                  <a:pt x="22" y="399"/>
                </a:lnTo>
                <a:lnTo>
                  <a:pt x="22" y="385"/>
                </a:lnTo>
                <a:lnTo>
                  <a:pt x="7" y="385"/>
                </a:lnTo>
                <a:lnTo>
                  <a:pt x="0" y="381"/>
                </a:lnTo>
                <a:lnTo>
                  <a:pt x="4" y="347"/>
                </a:lnTo>
                <a:lnTo>
                  <a:pt x="30" y="299"/>
                </a:lnTo>
                <a:lnTo>
                  <a:pt x="33" y="299"/>
                </a:lnTo>
                <a:lnTo>
                  <a:pt x="56" y="299"/>
                </a:lnTo>
                <a:lnTo>
                  <a:pt x="74" y="307"/>
                </a:lnTo>
                <a:lnTo>
                  <a:pt x="85" y="307"/>
                </a:lnTo>
                <a:lnTo>
                  <a:pt x="85" y="292"/>
                </a:lnTo>
                <a:lnTo>
                  <a:pt x="107" y="288"/>
                </a:lnTo>
                <a:lnTo>
                  <a:pt x="148" y="288"/>
                </a:lnTo>
                <a:lnTo>
                  <a:pt x="178" y="284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5" name="Freeform 73"/>
          <p:cNvSpPr>
            <a:spLocks noChangeAspect="1"/>
          </p:cNvSpPr>
          <p:nvPr/>
        </p:nvSpPr>
        <p:spPr bwMode="auto">
          <a:xfrm>
            <a:off x="4592489" y="5308947"/>
            <a:ext cx="50800" cy="60325"/>
          </a:xfrm>
          <a:custGeom>
            <a:avLst/>
            <a:gdLst>
              <a:gd name="T0" fmla="*/ 5492 w 37"/>
              <a:gd name="T1" fmla="*/ 0 h 46"/>
              <a:gd name="T2" fmla="*/ 5492 w 37"/>
              <a:gd name="T3" fmla="*/ 13114 h 46"/>
              <a:gd name="T4" fmla="*/ 0 w 37"/>
              <a:gd name="T5" fmla="*/ 28851 h 46"/>
              <a:gd name="T6" fmla="*/ 0 w 37"/>
              <a:gd name="T7" fmla="*/ 38031 h 46"/>
              <a:gd name="T8" fmla="*/ 15103 w 37"/>
              <a:gd name="T9" fmla="*/ 38031 h 46"/>
              <a:gd name="T10" fmla="*/ 26086 w 37"/>
              <a:gd name="T11" fmla="*/ 43277 h 46"/>
              <a:gd name="T12" fmla="*/ 35697 w 37"/>
              <a:gd name="T13" fmla="*/ 32785 h 46"/>
              <a:gd name="T14" fmla="*/ 16476 w 37"/>
              <a:gd name="T15" fmla="*/ 13114 h 46"/>
              <a:gd name="T16" fmla="*/ 5492 w 37"/>
              <a:gd name="T17" fmla="*/ 0 h 4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"/>
              <a:gd name="T28" fmla="*/ 0 h 46"/>
              <a:gd name="T29" fmla="*/ 37 w 37"/>
              <a:gd name="T30" fmla="*/ 46 h 4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" h="46">
                <a:moveTo>
                  <a:pt x="7" y="0"/>
                </a:moveTo>
                <a:lnTo>
                  <a:pt x="7" y="13"/>
                </a:lnTo>
                <a:lnTo>
                  <a:pt x="0" y="31"/>
                </a:lnTo>
                <a:lnTo>
                  <a:pt x="0" y="42"/>
                </a:lnTo>
                <a:lnTo>
                  <a:pt x="15" y="42"/>
                </a:lnTo>
                <a:lnTo>
                  <a:pt x="26" y="46"/>
                </a:lnTo>
                <a:lnTo>
                  <a:pt x="37" y="35"/>
                </a:lnTo>
                <a:lnTo>
                  <a:pt x="17" y="13"/>
                </a:lnTo>
                <a:lnTo>
                  <a:pt x="7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6" name="Freeform 74"/>
          <p:cNvSpPr>
            <a:spLocks noChangeAspect="1"/>
          </p:cNvSpPr>
          <p:nvPr/>
        </p:nvSpPr>
        <p:spPr bwMode="auto">
          <a:xfrm>
            <a:off x="5470376" y="5115272"/>
            <a:ext cx="101600" cy="92075"/>
          </a:xfrm>
          <a:custGeom>
            <a:avLst/>
            <a:gdLst>
              <a:gd name="T0" fmla="*/ 75156 w 73"/>
              <a:gd name="T1" fmla="*/ 5261 h 70"/>
              <a:gd name="T2" fmla="*/ 52888 w 73"/>
              <a:gd name="T3" fmla="*/ 31569 h 70"/>
              <a:gd name="T4" fmla="*/ 57063 w 73"/>
              <a:gd name="T5" fmla="*/ 49984 h 70"/>
              <a:gd name="T6" fmla="*/ 57063 w 73"/>
              <a:gd name="T7" fmla="*/ 56560 h 70"/>
              <a:gd name="T8" fmla="*/ 16701 w 73"/>
              <a:gd name="T9" fmla="*/ 67083 h 70"/>
              <a:gd name="T10" fmla="*/ 5567 w 73"/>
              <a:gd name="T11" fmla="*/ 63137 h 70"/>
              <a:gd name="T12" fmla="*/ 5567 w 73"/>
              <a:gd name="T13" fmla="*/ 49984 h 70"/>
              <a:gd name="T14" fmla="*/ 0 w 73"/>
              <a:gd name="T15" fmla="*/ 35515 h 70"/>
              <a:gd name="T16" fmla="*/ 18093 w 73"/>
              <a:gd name="T17" fmla="*/ 17100 h 70"/>
              <a:gd name="T18" fmla="*/ 30619 w 73"/>
              <a:gd name="T19" fmla="*/ 14469 h 70"/>
              <a:gd name="T20" fmla="*/ 41753 w 73"/>
              <a:gd name="T21" fmla="*/ 0 h 70"/>
              <a:gd name="T22" fmla="*/ 75156 w 73"/>
              <a:gd name="T23" fmla="*/ 5261 h 7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3"/>
              <a:gd name="T37" fmla="*/ 0 h 70"/>
              <a:gd name="T38" fmla="*/ 73 w 73"/>
              <a:gd name="T39" fmla="*/ 70 h 7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3" h="70">
                <a:moveTo>
                  <a:pt x="73" y="4"/>
                </a:moveTo>
                <a:lnTo>
                  <a:pt x="51" y="33"/>
                </a:lnTo>
                <a:lnTo>
                  <a:pt x="55" y="52"/>
                </a:lnTo>
                <a:lnTo>
                  <a:pt x="55" y="59"/>
                </a:lnTo>
                <a:lnTo>
                  <a:pt x="15" y="70"/>
                </a:lnTo>
                <a:lnTo>
                  <a:pt x="4" y="66"/>
                </a:lnTo>
                <a:lnTo>
                  <a:pt x="4" y="52"/>
                </a:lnTo>
                <a:lnTo>
                  <a:pt x="0" y="37"/>
                </a:lnTo>
                <a:lnTo>
                  <a:pt x="18" y="18"/>
                </a:lnTo>
                <a:lnTo>
                  <a:pt x="29" y="15"/>
                </a:lnTo>
                <a:lnTo>
                  <a:pt x="40" y="0"/>
                </a:lnTo>
                <a:lnTo>
                  <a:pt x="73" y="4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7" name="Freeform 75"/>
          <p:cNvSpPr>
            <a:spLocks noChangeAspect="1"/>
          </p:cNvSpPr>
          <p:nvPr/>
        </p:nvSpPr>
        <p:spPr bwMode="auto">
          <a:xfrm>
            <a:off x="3084364" y="3324572"/>
            <a:ext cx="49212" cy="119063"/>
          </a:xfrm>
          <a:custGeom>
            <a:avLst/>
            <a:gdLst>
              <a:gd name="T0" fmla="*/ 34581 w 37"/>
              <a:gd name="T1" fmla="*/ 0 h 92"/>
              <a:gd name="T2" fmla="*/ 33251 w 37"/>
              <a:gd name="T3" fmla="*/ 28472 h 92"/>
              <a:gd name="T4" fmla="*/ 22611 w 37"/>
              <a:gd name="T5" fmla="*/ 50472 h 92"/>
              <a:gd name="T6" fmla="*/ 5320 w 37"/>
              <a:gd name="T7" fmla="*/ 63414 h 92"/>
              <a:gd name="T8" fmla="*/ 10640 w 37"/>
              <a:gd name="T9" fmla="*/ 80238 h 92"/>
              <a:gd name="T10" fmla="*/ 5320 w 37"/>
              <a:gd name="T11" fmla="*/ 84121 h 92"/>
              <a:gd name="T12" fmla="*/ 0 w 37"/>
              <a:gd name="T13" fmla="*/ 66002 h 92"/>
              <a:gd name="T14" fmla="*/ 5320 w 37"/>
              <a:gd name="T15" fmla="*/ 51767 h 92"/>
              <a:gd name="T16" fmla="*/ 10640 w 37"/>
              <a:gd name="T17" fmla="*/ 37531 h 92"/>
              <a:gd name="T18" fmla="*/ 34581 w 37"/>
              <a:gd name="T19" fmla="*/ 0 h 9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7"/>
              <a:gd name="T31" fmla="*/ 0 h 92"/>
              <a:gd name="T32" fmla="*/ 37 w 37"/>
              <a:gd name="T33" fmla="*/ 92 h 9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7" h="92">
                <a:moveTo>
                  <a:pt x="37" y="0"/>
                </a:moveTo>
                <a:lnTo>
                  <a:pt x="35" y="31"/>
                </a:lnTo>
                <a:lnTo>
                  <a:pt x="24" y="55"/>
                </a:lnTo>
                <a:lnTo>
                  <a:pt x="7" y="70"/>
                </a:lnTo>
                <a:lnTo>
                  <a:pt x="11" y="86"/>
                </a:lnTo>
                <a:lnTo>
                  <a:pt x="4" y="92"/>
                </a:lnTo>
                <a:lnTo>
                  <a:pt x="0" y="72"/>
                </a:lnTo>
                <a:lnTo>
                  <a:pt x="6" y="57"/>
                </a:lnTo>
                <a:lnTo>
                  <a:pt x="11" y="40"/>
                </a:lnTo>
                <a:lnTo>
                  <a:pt x="37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68" name="Freeform 76"/>
          <p:cNvSpPr>
            <a:spLocks noChangeAspect="1"/>
          </p:cNvSpPr>
          <p:nvPr/>
        </p:nvSpPr>
        <p:spPr bwMode="auto">
          <a:xfrm>
            <a:off x="3195489" y="3267422"/>
            <a:ext cx="68262" cy="95250"/>
          </a:xfrm>
          <a:custGeom>
            <a:avLst/>
            <a:gdLst>
              <a:gd name="T0" fmla="*/ 39592 w 50"/>
              <a:gd name="T1" fmla="*/ 0 h 73"/>
              <a:gd name="T2" fmla="*/ 50514 w 50"/>
              <a:gd name="T3" fmla="*/ 0 h 73"/>
              <a:gd name="T4" fmla="*/ 36861 w 50"/>
              <a:gd name="T5" fmla="*/ 15658 h 73"/>
              <a:gd name="T6" fmla="*/ 35496 w 50"/>
              <a:gd name="T7" fmla="*/ 26096 h 73"/>
              <a:gd name="T8" fmla="*/ 39592 w 50"/>
              <a:gd name="T9" fmla="*/ 39144 h 73"/>
              <a:gd name="T10" fmla="*/ 25940 w 50"/>
              <a:gd name="T11" fmla="*/ 54801 h 73"/>
              <a:gd name="T12" fmla="*/ 8191 w 50"/>
              <a:gd name="T13" fmla="*/ 70459 h 73"/>
              <a:gd name="T14" fmla="*/ 6826 w 50"/>
              <a:gd name="T15" fmla="*/ 54801 h 73"/>
              <a:gd name="T16" fmla="*/ 0 w 50"/>
              <a:gd name="T17" fmla="*/ 46973 h 73"/>
              <a:gd name="T18" fmla="*/ 0 w 50"/>
              <a:gd name="T19" fmla="*/ 35229 h 73"/>
              <a:gd name="T20" fmla="*/ 15018 w 50"/>
              <a:gd name="T21" fmla="*/ 20877 h 73"/>
              <a:gd name="T22" fmla="*/ 39592 w 50"/>
              <a:gd name="T23" fmla="*/ 0 h 7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0"/>
              <a:gd name="T37" fmla="*/ 0 h 73"/>
              <a:gd name="T38" fmla="*/ 50 w 50"/>
              <a:gd name="T39" fmla="*/ 73 h 7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0" h="73">
                <a:moveTo>
                  <a:pt x="39" y="0"/>
                </a:moveTo>
                <a:lnTo>
                  <a:pt x="50" y="0"/>
                </a:lnTo>
                <a:lnTo>
                  <a:pt x="37" y="15"/>
                </a:lnTo>
                <a:lnTo>
                  <a:pt x="35" y="26"/>
                </a:lnTo>
                <a:lnTo>
                  <a:pt x="39" y="41"/>
                </a:lnTo>
                <a:lnTo>
                  <a:pt x="26" y="56"/>
                </a:lnTo>
                <a:lnTo>
                  <a:pt x="9" y="73"/>
                </a:lnTo>
                <a:lnTo>
                  <a:pt x="6" y="56"/>
                </a:lnTo>
                <a:lnTo>
                  <a:pt x="0" y="49"/>
                </a:lnTo>
                <a:lnTo>
                  <a:pt x="0" y="36"/>
                </a:lnTo>
                <a:lnTo>
                  <a:pt x="15" y="22"/>
                </a:lnTo>
                <a:lnTo>
                  <a:pt x="39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grpSp>
        <p:nvGrpSpPr>
          <p:cNvPr id="2" name="Group 77"/>
          <p:cNvGrpSpPr>
            <a:grpSpLocks noChangeAspect="1"/>
          </p:cNvGrpSpPr>
          <p:nvPr/>
        </p:nvGrpSpPr>
        <p:grpSpPr bwMode="auto">
          <a:xfrm>
            <a:off x="2777976" y="1992660"/>
            <a:ext cx="763588" cy="1538287"/>
            <a:chOff x="2195" y="724"/>
            <a:chExt cx="555" cy="1187"/>
          </a:xfrm>
          <a:solidFill>
            <a:srgbClr val="66FF66"/>
          </a:solidFill>
        </p:grpSpPr>
        <p:sp>
          <p:nvSpPr>
            <p:cNvPr id="170" name="Freeform 78"/>
            <p:cNvSpPr>
              <a:spLocks noChangeAspect="1"/>
            </p:cNvSpPr>
            <p:nvPr/>
          </p:nvSpPr>
          <p:spPr bwMode="auto">
            <a:xfrm>
              <a:off x="2195" y="724"/>
              <a:ext cx="555" cy="1187"/>
            </a:xfrm>
            <a:custGeom>
              <a:avLst/>
              <a:gdLst>
                <a:gd name="T0" fmla="*/ 436 w 555"/>
                <a:gd name="T1" fmla="*/ 21 h 1187"/>
                <a:gd name="T2" fmla="*/ 511 w 555"/>
                <a:gd name="T3" fmla="*/ 73 h 1187"/>
                <a:gd name="T4" fmla="*/ 518 w 555"/>
                <a:gd name="T5" fmla="*/ 118 h 1187"/>
                <a:gd name="T6" fmla="*/ 536 w 555"/>
                <a:gd name="T7" fmla="*/ 158 h 1187"/>
                <a:gd name="T8" fmla="*/ 533 w 555"/>
                <a:gd name="T9" fmla="*/ 210 h 1187"/>
                <a:gd name="T10" fmla="*/ 548 w 555"/>
                <a:gd name="T11" fmla="*/ 247 h 1187"/>
                <a:gd name="T12" fmla="*/ 544 w 555"/>
                <a:gd name="T13" fmla="*/ 277 h 1187"/>
                <a:gd name="T14" fmla="*/ 477 w 555"/>
                <a:gd name="T15" fmla="*/ 284 h 1187"/>
                <a:gd name="T16" fmla="*/ 448 w 555"/>
                <a:gd name="T17" fmla="*/ 329 h 1187"/>
                <a:gd name="T18" fmla="*/ 440 w 555"/>
                <a:gd name="T19" fmla="*/ 362 h 1187"/>
                <a:gd name="T20" fmla="*/ 444 w 555"/>
                <a:gd name="T21" fmla="*/ 410 h 1187"/>
                <a:gd name="T22" fmla="*/ 422 w 555"/>
                <a:gd name="T23" fmla="*/ 455 h 1187"/>
                <a:gd name="T24" fmla="*/ 359 w 555"/>
                <a:gd name="T25" fmla="*/ 492 h 1187"/>
                <a:gd name="T26" fmla="*/ 336 w 555"/>
                <a:gd name="T27" fmla="*/ 514 h 1187"/>
                <a:gd name="T28" fmla="*/ 307 w 555"/>
                <a:gd name="T29" fmla="*/ 570 h 1187"/>
                <a:gd name="T30" fmla="*/ 298 w 555"/>
                <a:gd name="T31" fmla="*/ 613 h 1187"/>
                <a:gd name="T32" fmla="*/ 272 w 555"/>
                <a:gd name="T33" fmla="*/ 673 h 1187"/>
                <a:gd name="T34" fmla="*/ 310 w 555"/>
                <a:gd name="T35" fmla="*/ 751 h 1187"/>
                <a:gd name="T36" fmla="*/ 340 w 555"/>
                <a:gd name="T37" fmla="*/ 810 h 1187"/>
                <a:gd name="T38" fmla="*/ 307 w 555"/>
                <a:gd name="T39" fmla="*/ 832 h 1187"/>
                <a:gd name="T40" fmla="*/ 279 w 555"/>
                <a:gd name="T41" fmla="*/ 836 h 1187"/>
                <a:gd name="T42" fmla="*/ 216 w 555"/>
                <a:gd name="T43" fmla="*/ 840 h 1187"/>
                <a:gd name="T44" fmla="*/ 275 w 555"/>
                <a:gd name="T45" fmla="*/ 854 h 1187"/>
                <a:gd name="T46" fmla="*/ 307 w 555"/>
                <a:gd name="T47" fmla="*/ 873 h 1187"/>
                <a:gd name="T48" fmla="*/ 286 w 555"/>
                <a:gd name="T49" fmla="*/ 888 h 1187"/>
                <a:gd name="T50" fmla="*/ 249 w 555"/>
                <a:gd name="T51" fmla="*/ 921 h 1187"/>
                <a:gd name="T52" fmla="*/ 238 w 555"/>
                <a:gd name="T53" fmla="*/ 954 h 1187"/>
                <a:gd name="T54" fmla="*/ 223 w 555"/>
                <a:gd name="T55" fmla="*/ 1032 h 1187"/>
                <a:gd name="T56" fmla="*/ 205 w 555"/>
                <a:gd name="T57" fmla="*/ 1084 h 1187"/>
                <a:gd name="T58" fmla="*/ 159 w 555"/>
                <a:gd name="T59" fmla="*/ 1125 h 1187"/>
                <a:gd name="T60" fmla="*/ 115 w 555"/>
                <a:gd name="T61" fmla="*/ 1140 h 1187"/>
                <a:gd name="T62" fmla="*/ 107 w 555"/>
                <a:gd name="T63" fmla="*/ 1176 h 1187"/>
                <a:gd name="T64" fmla="*/ 63 w 555"/>
                <a:gd name="T65" fmla="*/ 1187 h 1187"/>
                <a:gd name="T66" fmla="*/ 44 w 555"/>
                <a:gd name="T67" fmla="*/ 1168 h 1187"/>
                <a:gd name="T68" fmla="*/ 26 w 555"/>
                <a:gd name="T69" fmla="*/ 1103 h 1187"/>
                <a:gd name="T70" fmla="*/ 41 w 555"/>
                <a:gd name="T71" fmla="*/ 1088 h 1187"/>
                <a:gd name="T72" fmla="*/ 44 w 555"/>
                <a:gd name="T73" fmla="*/ 1066 h 1187"/>
                <a:gd name="T74" fmla="*/ 26 w 555"/>
                <a:gd name="T75" fmla="*/ 1006 h 1187"/>
                <a:gd name="T76" fmla="*/ 11 w 555"/>
                <a:gd name="T77" fmla="*/ 958 h 1187"/>
                <a:gd name="T78" fmla="*/ 0 w 555"/>
                <a:gd name="T79" fmla="*/ 884 h 1187"/>
                <a:gd name="T80" fmla="*/ 19 w 555"/>
                <a:gd name="T81" fmla="*/ 854 h 1187"/>
                <a:gd name="T82" fmla="*/ 33 w 555"/>
                <a:gd name="T83" fmla="*/ 780 h 1187"/>
                <a:gd name="T84" fmla="*/ 70 w 555"/>
                <a:gd name="T85" fmla="*/ 736 h 1187"/>
                <a:gd name="T86" fmla="*/ 59 w 555"/>
                <a:gd name="T87" fmla="*/ 658 h 1187"/>
                <a:gd name="T88" fmla="*/ 74 w 555"/>
                <a:gd name="T89" fmla="*/ 621 h 1187"/>
                <a:gd name="T90" fmla="*/ 67 w 555"/>
                <a:gd name="T91" fmla="*/ 555 h 1187"/>
                <a:gd name="T92" fmla="*/ 82 w 555"/>
                <a:gd name="T93" fmla="*/ 477 h 1187"/>
                <a:gd name="T94" fmla="*/ 130 w 555"/>
                <a:gd name="T95" fmla="*/ 425 h 1187"/>
                <a:gd name="T96" fmla="*/ 175 w 555"/>
                <a:gd name="T97" fmla="*/ 410 h 1187"/>
                <a:gd name="T98" fmla="*/ 156 w 555"/>
                <a:gd name="T99" fmla="*/ 362 h 1187"/>
                <a:gd name="T100" fmla="*/ 175 w 555"/>
                <a:gd name="T101" fmla="*/ 322 h 1187"/>
                <a:gd name="T102" fmla="*/ 186 w 555"/>
                <a:gd name="T103" fmla="*/ 262 h 1187"/>
                <a:gd name="T104" fmla="*/ 235 w 555"/>
                <a:gd name="T105" fmla="*/ 225 h 1187"/>
                <a:gd name="T106" fmla="*/ 257 w 555"/>
                <a:gd name="T107" fmla="*/ 177 h 1187"/>
                <a:gd name="T108" fmla="*/ 292 w 555"/>
                <a:gd name="T109" fmla="*/ 103 h 1187"/>
                <a:gd name="T110" fmla="*/ 331 w 555"/>
                <a:gd name="T111" fmla="*/ 69 h 1187"/>
                <a:gd name="T112" fmla="*/ 368 w 555"/>
                <a:gd name="T113" fmla="*/ 42 h 1187"/>
                <a:gd name="T114" fmla="*/ 414 w 555"/>
                <a:gd name="T115" fmla="*/ 0 h 118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5"/>
                <a:gd name="T175" fmla="*/ 0 h 1187"/>
                <a:gd name="T176" fmla="*/ 555 w 555"/>
                <a:gd name="T177" fmla="*/ 1187 h 118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5" h="1187">
                  <a:moveTo>
                    <a:pt x="418" y="0"/>
                  </a:moveTo>
                  <a:lnTo>
                    <a:pt x="425" y="3"/>
                  </a:lnTo>
                  <a:lnTo>
                    <a:pt x="436" y="21"/>
                  </a:lnTo>
                  <a:lnTo>
                    <a:pt x="485" y="69"/>
                  </a:lnTo>
                  <a:lnTo>
                    <a:pt x="492" y="58"/>
                  </a:lnTo>
                  <a:lnTo>
                    <a:pt x="511" y="73"/>
                  </a:lnTo>
                  <a:lnTo>
                    <a:pt x="518" y="88"/>
                  </a:lnTo>
                  <a:lnTo>
                    <a:pt x="518" y="99"/>
                  </a:lnTo>
                  <a:lnTo>
                    <a:pt x="518" y="118"/>
                  </a:lnTo>
                  <a:lnTo>
                    <a:pt x="511" y="129"/>
                  </a:lnTo>
                  <a:lnTo>
                    <a:pt x="525" y="144"/>
                  </a:lnTo>
                  <a:lnTo>
                    <a:pt x="536" y="158"/>
                  </a:lnTo>
                  <a:lnTo>
                    <a:pt x="536" y="170"/>
                  </a:lnTo>
                  <a:lnTo>
                    <a:pt x="536" y="188"/>
                  </a:lnTo>
                  <a:lnTo>
                    <a:pt x="533" y="210"/>
                  </a:lnTo>
                  <a:lnTo>
                    <a:pt x="525" y="218"/>
                  </a:lnTo>
                  <a:lnTo>
                    <a:pt x="536" y="229"/>
                  </a:lnTo>
                  <a:lnTo>
                    <a:pt x="548" y="247"/>
                  </a:lnTo>
                  <a:lnTo>
                    <a:pt x="555" y="266"/>
                  </a:lnTo>
                  <a:lnTo>
                    <a:pt x="555" y="273"/>
                  </a:lnTo>
                  <a:lnTo>
                    <a:pt x="544" y="277"/>
                  </a:lnTo>
                  <a:lnTo>
                    <a:pt x="496" y="277"/>
                  </a:lnTo>
                  <a:lnTo>
                    <a:pt x="485" y="277"/>
                  </a:lnTo>
                  <a:lnTo>
                    <a:pt x="477" y="284"/>
                  </a:lnTo>
                  <a:lnTo>
                    <a:pt x="477" y="299"/>
                  </a:lnTo>
                  <a:lnTo>
                    <a:pt x="470" y="310"/>
                  </a:lnTo>
                  <a:lnTo>
                    <a:pt x="448" y="329"/>
                  </a:lnTo>
                  <a:lnTo>
                    <a:pt x="451" y="344"/>
                  </a:lnTo>
                  <a:lnTo>
                    <a:pt x="448" y="355"/>
                  </a:lnTo>
                  <a:lnTo>
                    <a:pt x="440" y="362"/>
                  </a:lnTo>
                  <a:lnTo>
                    <a:pt x="448" y="385"/>
                  </a:lnTo>
                  <a:lnTo>
                    <a:pt x="451" y="399"/>
                  </a:lnTo>
                  <a:lnTo>
                    <a:pt x="444" y="410"/>
                  </a:lnTo>
                  <a:lnTo>
                    <a:pt x="429" y="422"/>
                  </a:lnTo>
                  <a:lnTo>
                    <a:pt x="425" y="436"/>
                  </a:lnTo>
                  <a:lnTo>
                    <a:pt x="422" y="455"/>
                  </a:lnTo>
                  <a:lnTo>
                    <a:pt x="396" y="466"/>
                  </a:lnTo>
                  <a:lnTo>
                    <a:pt x="381" y="477"/>
                  </a:lnTo>
                  <a:lnTo>
                    <a:pt x="359" y="492"/>
                  </a:lnTo>
                  <a:lnTo>
                    <a:pt x="362" y="503"/>
                  </a:lnTo>
                  <a:lnTo>
                    <a:pt x="344" y="507"/>
                  </a:lnTo>
                  <a:lnTo>
                    <a:pt x="336" y="514"/>
                  </a:lnTo>
                  <a:lnTo>
                    <a:pt x="318" y="540"/>
                  </a:lnTo>
                  <a:lnTo>
                    <a:pt x="303" y="551"/>
                  </a:lnTo>
                  <a:lnTo>
                    <a:pt x="307" y="570"/>
                  </a:lnTo>
                  <a:lnTo>
                    <a:pt x="298" y="576"/>
                  </a:lnTo>
                  <a:lnTo>
                    <a:pt x="290" y="584"/>
                  </a:lnTo>
                  <a:lnTo>
                    <a:pt x="298" y="613"/>
                  </a:lnTo>
                  <a:lnTo>
                    <a:pt x="294" y="632"/>
                  </a:lnTo>
                  <a:lnTo>
                    <a:pt x="275" y="643"/>
                  </a:lnTo>
                  <a:lnTo>
                    <a:pt x="272" y="673"/>
                  </a:lnTo>
                  <a:lnTo>
                    <a:pt x="275" y="710"/>
                  </a:lnTo>
                  <a:lnTo>
                    <a:pt x="283" y="728"/>
                  </a:lnTo>
                  <a:lnTo>
                    <a:pt x="310" y="751"/>
                  </a:lnTo>
                  <a:lnTo>
                    <a:pt x="321" y="773"/>
                  </a:lnTo>
                  <a:lnTo>
                    <a:pt x="333" y="795"/>
                  </a:lnTo>
                  <a:lnTo>
                    <a:pt x="340" y="810"/>
                  </a:lnTo>
                  <a:lnTo>
                    <a:pt x="333" y="825"/>
                  </a:lnTo>
                  <a:lnTo>
                    <a:pt x="318" y="836"/>
                  </a:lnTo>
                  <a:lnTo>
                    <a:pt x="307" y="832"/>
                  </a:lnTo>
                  <a:lnTo>
                    <a:pt x="298" y="821"/>
                  </a:lnTo>
                  <a:lnTo>
                    <a:pt x="283" y="825"/>
                  </a:lnTo>
                  <a:lnTo>
                    <a:pt x="279" y="836"/>
                  </a:lnTo>
                  <a:lnTo>
                    <a:pt x="257" y="836"/>
                  </a:lnTo>
                  <a:lnTo>
                    <a:pt x="223" y="832"/>
                  </a:lnTo>
                  <a:lnTo>
                    <a:pt x="216" y="840"/>
                  </a:lnTo>
                  <a:lnTo>
                    <a:pt x="238" y="851"/>
                  </a:lnTo>
                  <a:lnTo>
                    <a:pt x="268" y="840"/>
                  </a:lnTo>
                  <a:lnTo>
                    <a:pt x="275" y="854"/>
                  </a:lnTo>
                  <a:lnTo>
                    <a:pt x="298" y="858"/>
                  </a:lnTo>
                  <a:lnTo>
                    <a:pt x="314" y="865"/>
                  </a:lnTo>
                  <a:lnTo>
                    <a:pt x="307" y="873"/>
                  </a:lnTo>
                  <a:lnTo>
                    <a:pt x="286" y="869"/>
                  </a:lnTo>
                  <a:lnTo>
                    <a:pt x="283" y="877"/>
                  </a:lnTo>
                  <a:lnTo>
                    <a:pt x="286" y="888"/>
                  </a:lnTo>
                  <a:lnTo>
                    <a:pt x="275" y="903"/>
                  </a:lnTo>
                  <a:lnTo>
                    <a:pt x="257" y="917"/>
                  </a:lnTo>
                  <a:lnTo>
                    <a:pt x="249" y="921"/>
                  </a:lnTo>
                  <a:lnTo>
                    <a:pt x="242" y="925"/>
                  </a:lnTo>
                  <a:lnTo>
                    <a:pt x="246" y="943"/>
                  </a:lnTo>
                  <a:lnTo>
                    <a:pt x="238" y="954"/>
                  </a:lnTo>
                  <a:lnTo>
                    <a:pt x="227" y="977"/>
                  </a:lnTo>
                  <a:lnTo>
                    <a:pt x="231" y="999"/>
                  </a:lnTo>
                  <a:lnTo>
                    <a:pt x="223" y="1032"/>
                  </a:lnTo>
                  <a:lnTo>
                    <a:pt x="216" y="1047"/>
                  </a:lnTo>
                  <a:lnTo>
                    <a:pt x="216" y="1069"/>
                  </a:lnTo>
                  <a:lnTo>
                    <a:pt x="205" y="1084"/>
                  </a:lnTo>
                  <a:lnTo>
                    <a:pt x="190" y="1110"/>
                  </a:lnTo>
                  <a:lnTo>
                    <a:pt x="186" y="1129"/>
                  </a:lnTo>
                  <a:lnTo>
                    <a:pt x="159" y="1125"/>
                  </a:lnTo>
                  <a:lnTo>
                    <a:pt x="133" y="1125"/>
                  </a:lnTo>
                  <a:lnTo>
                    <a:pt x="130" y="1136"/>
                  </a:lnTo>
                  <a:lnTo>
                    <a:pt x="115" y="1140"/>
                  </a:lnTo>
                  <a:lnTo>
                    <a:pt x="107" y="1144"/>
                  </a:lnTo>
                  <a:lnTo>
                    <a:pt x="111" y="1157"/>
                  </a:lnTo>
                  <a:lnTo>
                    <a:pt x="107" y="1176"/>
                  </a:lnTo>
                  <a:lnTo>
                    <a:pt x="89" y="1187"/>
                  </a:lnTo>
                  <a:lnTo>
                    <a:pt x="78" y="1176"/>
                  </a:lnTo>
                  <a:lnTo>
                    <a:pt x="63" y="1187"/>
                  </a:lnTo>
                  <a:lnTo>
                    <a:pt x="44" y="1187"/>
                  </a:lnTo>
                  <a:lnTo>
                    <a:pt x="37" y="1176"/>
                  </a:lnTo>
                  <a:lnTo>
                    <a:pt x="44" y="1168"/>
                  </a:lnTo>
                  <a:lnTo>
                    <a:pt x="48" y="1147"/>
                  </a:lnTo>
                  <a:lnTo>
                    <a:pt x="33" y="1118"/>
                  </a:lnTo>
                  <a:lnTo>
                    <a:pt x="26" y="1103"/>
                  </a:lnTo>
                  <a:lnTo>
                    <a:pt x="30" y="1095"/>
                  </a:lnTo>
                  <a:lnTo>
                    <a:pt x="37" y="1095"/>
                  </a:lnTo>
                  <a:lnTo>
                    <a:pt x="41" y="1088"/>
                  </a:lnTo>
                  <a:lnTo>
                    <a:pt x="44" y="1080"/>
                  </a:lnTo>
                  <a:lnTo>
                    <a:pt x="48" y="1073"/>
                  </a:lnTo>
                  <a:lnTo>
                    <a:pt x="44" y="1066"/>
                  </a:lnTo>
                  <a:lnTo>
                    <a:pt x="37" y="1051"/>
                  </a:lnTo>
                  <a:lnTo>
                    <a:pt x="22" y="1029"/>
                  </a:lnTo>
                  <a:lnTo>
                    <a:pt x="26" y="1006"/>
                  </a:lnTo>
                  <a:lnTo>
                    <a:pt x="15" y="988"/>
                  </a:lnTo>
                  <a:lnTo>
                    <a:pt x="4" y="977"/>
                  </a:lnTo>
                  <a:lnTo>
                    <a:pt x="11" y="958"/>
                  </a:lnTo>
                  <a:lnTo>
                    <a:pt x="19" y="921"/>
                  </a:lnTo>
                  <a:lnTo>
                    <a:pt x="4" y="903"/>
                  </a:lnTo>
                  <a:lnTo>
                    <a:pt x="0" y="884"/>
                  </a:lnTo>
                  <a:lnTo>
                    <a:pt x="0" y="873"/>
                  </a:lnTo>
                  <a:lnTo>
                    <a:pt x="7" y="851"/>
                  </a:lnTo>
                  <a:lnTo>
                    <a:pt x="19" y="854"/>
                  </a:lnTo>
                  <a:lnTo>
                    <a:pt x="30" y="825"/>
                  </a:lnTo>
                  <a:lnTo>
                    <a:pt x="30" y="791"/>
                  </a:lnTo>
                  <a:lnTo>
                    <a:pt x="33" y="780"/>
                  </a:lnTo>
                  <a:lnTo>
                    <a:pt x="48" y="769"/>
                  </a:lnTo>
                  <a:lnTo>
                    <a:pt x="70" y="754"/>
                  </a:lnTo>
                  <a:lnTo>
                    <a:pt x="70" y="736"/>
                  </a:lnTo>
                  <a:lnTo>
                    <a:pt x="67" y="680"/>
                  </a:lnTo>
                  <a:lnTo>
                    <a:pt x="59" y="673"/>
                  </a:lnTo>
                  <a:lnTo>
                    <a:pt x="59" y="658"/>
                  </a:lnTo>
                  <a:lnTo>
                    <a:pt x="78" y="650"/>
                  </a:lnTo>
                  <a:lnTo>
                    <a:pt x="85" y="643"/>
                  </a:lnTo>
                  <a:lnTo>
                    <a:pt x="74" y="621"/>
                  </a:lnTo>
                  <a:lnTo>
                    <a:pt x="59" y="599"/>
                  </a:lnTo>
                  <a:lnTo>
                    <a:pt x="63" y="573"/>
                  </a:lnTo>
                  <a:lnTo>
                    <a:pt x="67" y="555"/>
                  </a:lnTo>
                  <a:lnTo>
                    <a:pt x="82" y="522"/>
                  </a:lnTo>
                  <a:lnTo>
                    <a:pt x="82" y="507"/>
                  </a:lnTo>
                  <a:lnTo>
                    <a:pt x="82" y="477"/>
                  </a:lnTo>
                  <a:lnTo>
                    <a:pt x="93" y="451"/>
                  </a:lnTo>
                  <a:lnTo>
                    <a:pt x="111" y="436"/>
                  </a:lnTo>
                  <a:lnTo>
                    <a:pt x="130" y="425"/>
                  </a:lnTo>
                  <a:lnTo>
                    <a:pt x="148" y="429"/>
                  </a:lnTo>
                  <a:lnTo>
                    <a:pt x="167" y="436"/>
                  </a:lnTo>
                  <a:lnTo>
                    <a:pt x="175" y="410"/>
                  </a:lnTo>
                  <a:lnTo>
                    <a:pt x="167" y="388"/>
                  </a:lnTo>
                  <a:lnTo>
                    <a:pt x="159" y="373"/>
                  </a:lnTo>
                  <a:lnTo>
                    <a:pt x="156" y="362"/>
                  </a:lnTo>
                  <a:lnTo>
                    <a:pt x="159" y="351"/>
                  </a:lnTo>
                  <a:lnTo>
                    <a:pt x="172" y="347"/>
                  </a:lnTo>
                  <a:lnTo>
                    <a:pt x="175" y="322"/>
                  </a:lnTo>
                  <a:lnTo>
                    <a:pt x="183" y="299"/>
                  </a:lnTo>
                  <a:lnTo>
                    <a:pt x="186" y="281"/>
                  </a:lnTo>
                  <a:lnTo>
                    <a:pt x="186" y="262"/>
                  </a:lnTo>
                  <a:lnTo>
                    <a:pt x="197" y="244"/>
                  </a:lnTo>
                  <a:lnTo>
                    <a:pt x="220" y="229"/>
                  </a:lnTo>
                  <a:lnTo>
                    <a:pt x="235" y="225"/>
                  </a:lnTo>
                  <a:lnTo>
                    <a:pt x="235" y="207"/>
                  </a:lnTo>
                  <a:lnTo>
                    <a:pt x="242" y="195"/>
                  </a:lnTo>
                  <a:lnTo>
                    <a:pt x="257" y="177"/>
                  </a:lnTo>
                  <a:lnTo>
                    <a:pt x="272" y="166"/>
                  </a:lnTo>
                  <a:lnTo>
                    <a:pt x="264" y="134"/>
                  </a:lnTo>
                  <a:lnTo>
                    <a:pt x="292" y="103"/>
                  </a:lnTo>
                  <a:lnTo>
                    <a:pt x="298" y="90"/>
                  </a:lnTo>
                  <a:lnTo>
                    <a:pt x="318" y="86"/>
                  </a:lnTo>
                  <a:lnTo>
                    <a:pt x="331" y="69"/>
                  </a:lnTo>
                  <a:lnTo>
                    <a:pt x="331" y="58"/>
                  </a:lnTo>
                  <a:lnTo>
                    <a:pt x="344" y="45"/>
                  </a:lnTo>
                  <a:lnTo>
                    <a:pt x="368" y="42"/>
                  </a:lnTo>
                  <a:lnTo>
                    <a:pt x="396" y="42"/>
                  </a:lnTo>
                  <a:lnTo>
                    <a:pt x="418" y="21"/>
                  </a:lnTo>
                  <a:lnTo>
                    <a:pt x="414" y="0"/>
                  </a:lnTo>
                  <a:lnTo>
                    <a:pt x="4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CA">
                <a:latin typeface="Arial Narrow" pitchFamily="34" charset="0"/>
              </a:endParaRPr>
            </a:p>
          </p:txBody>
        </p:sp>
        <p:sp>
          <p:nvSpPr>
            <p:cNvPr id="171" name="Freeform 79"/>
            <p:cNvSpPr>
              <a:spLocks noChangeAspect="1"/>
            </p:cNvSpPr>
            <p:nvPr/>
          </p:nvSpPr>
          <p:spPr bwMode="auto">
            <a:xfrm>
              <a:off x="2195" y="724"/>
              <a:ext cx="555" cy="1187"/>
            </a:xfrm>
            <a:custGeom>
              <a:avLst/>
              <a:gdLst>
                <a:gd name="T0" fmla="*/ 436 w 555"/>
                <a:gd name="T1" fmla="*/ 21 h 1187"/>
                <a:gd name="T2" fmla="*/ 511 w 555"/>
                <a:gd name="T3" fmla="*/ 73 h 1187"/>
                <a:gd name="T4" fmla="*/ 518 w 555"/>
                <a:gd name="T5" fmla="*/ 118 h 1187"/>
                <a:gd name="T6" fmla="*/ 536 w 555"/>
                <a:gd name="T7" fmla="*/ 158 h 1187"/>
                <a:gd name="T8" fmla="*/ 533 w 555"/>
                <a:gd name="T9" fmla="*/ 210 h 1187"/>
                <a:gd name="T10" fmla="*/ 548 w 555"/>
                <a:gd name="T11" fmla="*/ 247 h 1187"/>
                <a:gd name="T12" fmla="*/ 544 w 555"/>
                <a:gd name="T13" fmla="*/ 277 h 1187"/>
                <a:gd name="T14" fmla="*/ 477 w 555"/>
                <a:gd name="T15" fmla="*/ 284 h 1187"/>
                <a:gd name="T16" fmla="*/ 448 w 555"/>
                <a:gd name="T17" fmla="*/ 329 h 1187"/>
                <a:gd name="T18" fmla="*/ 440 w 555"/>
                <a:gd name="T19" fmla="*/ 362 h 1187"/>
                <a:gd name="T20" fmla="*/ 444 w 555"/>
                <a:gd name="T21" fmla="*/ 410 h 1187"/>
                <a:gd name="T22" fmla="*/ 422 w 555"/>
                <a:gd name="T23" fmla="*/ 455 h 1187"/>
                <a:gd name="T24" fmla="*/ 359 w 555"/>
                <a:gd name="T25" fmla="*/ 492 h 1187"/>
                <a:gd name="T26" fmla="*/ 336 w 555"/>
                <a:gd name="T27" fmla="*/ 514 h 1187"/>
                <a:gd name="T28" fmla="*/ 307 w 555"/>
                <a:gd name="T29" fmla="*/ 570 h 1187"/>
                <a:gd name="T30" fmla="*/ 298 w 555"/>
                <a:gd name="T31" fmla="*/ 613 h 1187"/>
                <a:gd name="T32" fmla="*/ 272 w 555"/>
                <a:gd name="T33" fmla="*/ 673 h 1187"/>
                <a:gd name="T34" fmla="*/ 310 w 555"/>
                <a:gd name="T35" fmla="*/ 751 h 1187"/>
                <a:gd name="T36" fmla="*/ 340 w 555"/>
                <a:gd name="T37" fmla="*/ 810 h 1187"/>
                <a:gd name="T38" fmla="*/ 307 w 555"/>
                <a:gd name="T39" fmla="*/ 832 h 1187"/>
                <a:gd name="T40" fmla="*/ 279 w 555"/>
                <a:gd name="T41" fmla="*/ 836 h 1187"/>
                <a:gd name="T42" fmla="*/ 216 w 555"/>
                <a:gd name="T43" fmla="*/ 840 h 1187"/>
                <a:gd name="T44" fmla="*/ 275 w 555"/>
                <a:gd name="T45" fmla="*/ 854 h 1187"/>
                <a:gd name="T46" fmla="*/ 307 w 555"/>
                <a:gd name="T47" fmla="*/ 873 h 1187"/>
                <a:gd name="T48" fmla="*/ 286 w 555"/>
                <a:gd name="T49" fmla="*/ 888 h 1187"/>
                <a:gd name="T50" fmla="*/ 249 w 555"/>
                <a:gd name="T51" fmla="*/ 921 h 1187"/>
                <a:gd name="T52" fmla="*/ 238 w 555"/>
                <a:gd name="T53" fmla="*/ 954 h 1187"/>
                <a:gd name="T54" fmla="*/ 223 w 555"/>
                <a:gd name="T55" fmla="*/ 1032 h 1187"/>
                <a:gd name="T56" fmla="*/ 205 w 555"/>
                <a:gd name="T57" fmla="*/ 1084 h 1187"/>
                <a:gd name="T58" fmla="*/ 159 w 555"/>
                <a:gd name="T59" fmla="*/ 1125 h 1187"/>
                <a:gd name="T60" fmla="*/ 115 w 555"/>
                <a:gd name="T61" fmla="*/ 1140 h 1187"/>
                <a:gd name="T62" fmla="*/ 107 w 555"/>
                <a:gd name="T63" fmla="*/ 1176 h 1187"/>
                <a:gd name="T64" fmla="*/ 63 w 555"/>
                <a:gd name="T65" fmla="*/ 1187 h 1187"/>
                <a:gd name="T66" fmla="*/ 44 w 555"/>
                <a:gd name="T67" fmla="*/ 1168 h 1187"/>
                <a:gd name="T68" fmla="*/ 26 w 555"/>
                <a:gd name="T69" fmla="*/ 1103 h 1187"/>
                <a:gd name="T70" fmla="*/ 41 w 555"/>
                <a:gd name="T71" fmla="*/ 1088 h 1187"/>
                <a:gd name="T72" fmla="*/ 44 w 555"/>
                <a:gd name="T73" fmla="*/ 1066 h 1187"/>
                <a:gd name="T74" fmla="*/ 26 w 555"/>
                <a:gd name="T75" fmla="*/ 1006 h 1187"/>
                <a:gd name="T76" fmla="*/ 11 w 555"/>
                <a:gd name="T77" fmla="*/ 958 h 1187"/>
                <a:gd name="T78" fmla="*/ 0 w 555"/>
                <a:gd name="T79" fmla="*/ 884 h 1187"/>
                <a:gd name="T80" fmla="*/ 19 w 555"/>
                <a:gd name="T81" fmla="*/ 854 h 1187"/>
                <a:gd name="T82" fmla="*/ 33 w 555"/>
                <a:gd name="T83" fmla="*/ 780 h 1187"/>
                <a:gd name="T84" fmla="*/ 70 w 555"/>
                <a:gd name="T85" fmla="*/ 736 h 1187"/>
                <a:gd name="T86" fmla="*/ 59 w 555"/>
                <a:gd name="T87" fmla="*/ 658 h 1187"/>
                <a:gd name="T88" fmla="*/ 74 w 555"/>
                <a:gd name="T89" fmla="*/ 621 h 1187"/>
                <a:gd name="T90" fmla="*/ 67 w 555"/>
                <a:gd name="T91" fmla="*/ 555 h 1187"/>
                <a:gd name="T92" fmla="*/ 82 w 555"/>
                <a:gd name="T93" fmla="*/ 477 h 1187"/>
                <a:gd name="T94" fmla="*/ 130 w 555"/>
                <a:gd name="T95" fmla="*/ 425 h 1187"/>
                <a:gd name="T96" fmla="*/ 175 w 555"/>
                <a:gd name="T97" fmla="*/ 410 h 1187"/>
                <a:gd name="T98" fmla="*/ 156 w 555"/>
                <a:gd name="T99" fmla="*/ 362 h 1187"/>
                <a:gd name="T100" fmla="*/ 175 w 555"/>
                <a:gd name="T101" fmla="*/ 322 h 1187"/>
                <a:gd name="T102" fmla="*/ 186 w 555"/>
                <a:gd name="T103" fmla="*/ 262 h 1187"/>
                <a:gd name="T104" fmla="*/ 235 w 555"/>
                <a:gd name="T105" fmla="*/ 225 h 1187"/>
                <a:gd name="T106" fmla="*/ 257 w 555"/>
                <a:gd name="T107" fmla="*/ 177 h 1187"/>
                <a:gd name="T108" fmla="*/ 292 w 555"/>
                <a:gd name="T109" fmla="*/ 103 h 1187"/>
                <a:gd name="T110" fmla="*/ 331 w 555"/>
                <a:gd name="T111" fmla="*/ 69 h 1187"/>
                <a:gd name="T112" fmla="*/ 368 w 555"/>
                <a:gd name="T113" fmla="*/ 42 h 1187"/>
                <a:gd name="T114" fmla="*/ 414 w 555"/>
                <a:gd name="T115" fmla="*/ 0 h 118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5"/>
                <a:gd name="T175" fmla="*/ 0 h 1187"/>
                <a:gd name="T176" fmla="*/ 555 w 555"/>
                <a:gd name="T177" fmla="*/ 1187 h 118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5" h="1187">
                  <a:moveTo>
                    <a:pt x="418" y="0"/>
                  </a:moveTo>
                  <a:lnTo>
                    <a:pt x="425" y="3"/>
                  </a:lnTo>
                  <a:lnTo>
                    <a:pt x="436" y="21"/>
                  </a:lnTo>
                  <a:lnTo>
                    <a:pt x="485" y="69"/>
                  </a:lnTo>
                  <a:lnTo>
                    <a:pt x="492" y="58"/>
                  </a:lnTo>
                  <a:lnTo>
                    <a:pt x="511" y="73"/>
                  </a:lnTo>
                  <a:lnTo>
                    <a:pt x="518" y="88"/>
                  </a:lnTo>
                  <a:lnTo>
                    <a:pt x="518" y="99"/>
                  </a:lnTo>
                  <a:lnTo>
                    <a:pt x="518" y="118"/>
                  </a:lnTo>
                  <a:lnTo>
                    <a:pt x="511" y="129"/>
                  </a:lnTo>
                  <a:lnTo>
                    <a:pt x="525" y="144"/>
                  </a:lnTo>
                  <a:lnTo>
                    <a:pt x="536" y="158"/>
                  </a:lnTo>
                  <a:lnTo>
                    <a:pt x="536" y="170"/>
                  </a:lnTo>
                  <a:lnTo>
                    <a:pt x="536" y="188"/>
                  </a:lnTo>
                  <a:lnTo>
                    <a:pt x="533" y="210"/>
                  </a:lnTo>
                  <a:lnTo>
                    <a:pt x="525" y="218"/>
                  </a:lnTo>
                  <a:lnTo>
                    <a:pt x="536" y="229"/>
                  </a:lnTo>
                  <a:lnTo>
                    <a:pt x="548" y="247"/>
                  </a:lnTo>
                  <a:lnTo>
                    <a:pt x="555" y="266"/>
                  </a:lnTo>
                  <a:lnTo>
                    <a:pt x="555" y="273"/>
                  </a:lnTo>
                  <a:lnTo>
                    <a:pt x="544" y="277"/>
                  </a:lnTo>
                  <a:lnTo>
                    <a:pt x="496" y="277"/>
                  </a:lnTo>
                  <a:lnTo>
                    <a:pt x="485" y="277"/>
                  </a:lnTo>
                  <a:lnTo>
                    <a:pt x="477" y="284"/>
                  </a:lnTo>
                  <a:lnTo>
                    <a:pt x="477" y="299"/>
                  </a:lnTo>
                  <a:lnTo>
                    <a:pt x="470" y="310"/>
                  </a:lnTo>
                  <a:lnTo>
                    <a:pt x="448" y="329"/>
                  </a:lnTo>
                  <a:lnTo>
                    <a:pt x="451" y="344"/>
                  </a:lnTo>
                  <a:lnTo>
                    <a:pt x="448" y="355"/>
                  </a:lnTo>
                  <a:lnTo>
                    <a:pt x="440" y="362"/>
                  </a:lnTo>
                  <a:lnTo>
                    <a:pt x="448" y="385"/>
                  </a:lnTo>
                  <a:lnTo>
                    <a:pt x="451" y="399"/>
                  </a:lnTo>
                  <a:lnTo>
                    <a:pt x="444" y="410"/>
                  </a:lnTo>
                  <a:lnTo>
                    <a:pt x="429" y="422"/>
                  </a:lnTo>
                  <a:lnTo>
                    <a:pt x="425" y="436"/>
                  </a:lnTo>
                  <a:lnTo>
                    <a:pt x="422" y="455"/>
                  </a:lnTo>
                  <a:lnTo>
                    <a:pt x="396" y="466"/>
                  </a:lnTo>
                  <a:lnTo>
                    <a:pt x="381" y="477"/>
                  </a:lnTo>
                  <a:lnTo>
                    <a:pt x="359" y="492"/>
                  </a:lnTo>
                  <a:lnTo>
                    <a:pt x="362" y="503"/>
                  </a:lnTo>
                  <a:lnTo>
                    <a:pt x="344" y="507"/>
                  </a:lnTo>
                  <a:lnTo>
                    <a:pt x="336" y="514"/>
                  </a:lnTo>
                  <a:lnTo>
                    <a:pt x="318" y="540"/>
                  </a:lnTo>
                  <a:lnTo>
                    <a:pt x="303" y="551"/>
                  </a:lnTo>
                  <a:lnTo>
                    <a:pt x="307" y="570"/>
                  </a:lnTo>
                  <a:lnTo>
                    <a:pt x="298" y="576"/>
                  </a:lnTo>
                  <a:lnTo>
                    <a:pt x="290" y="584"/>
                  </a:lnTo>
                  <a:lnTo>
                    <a:pt x="298" y="613"/>
                  </a:lnTo>
                  <a:lnTo>
                    <a:pt x="294" y="632"/>
                  </a:lnTo>
                  <a:lnTo>
                    <a:pt x="275" y="643"/>
                  </a:lnTo>
                  <a:lnTo>
                    <a:pt x="272" y="673"/>
                  </a:lnTo>
                  <a:lnTo>
                    <a:pt x="275" y="710"/>
                  </a:lnTo>
                  <a:lnTo>
                    <a:pt x="283" y="728"/>
                  </a:lnTo>
                  <a:lnTo>
                    <a:pt x="310" y="751"/>
                  </a:lnTo>
                  <a:lnTo>
                    <a:pt x="321" y="773"/>
                  </a:lnTo>
                  <a:lnTo>
                    <a:pt x="333" y="795"/>
                  </a:lnTo>
                  <a:lnTo>
                    <a:pt x="340" y="810"/>
                  </a:lnTo>
                  <a:lnTo>
                    <a:pt x="333" y="825"/>
                  </a:lnTo>
                  <a:lnTo>
                    <a:pt x="318" y="836"/>
                  </a:lnTo>
                  <a:lnTo>
                    <a:pt x="307" y="832"/>
                  </a:lnTo>
                  <a:lnTo>
                    <a:pt x="298" y="821"/>
                  </a:lnTo>
                  <a:lnTo>
                    <a:pt x="283" y="825"/>
                  </a:lnTo>
                  <a:lnTo>
                    <a:pt x="279" y="836"/>
                  </a:lnTo>
                  <a:lnTo>
                    <a:pt x="257" y="836"/>
                  </a:lnTo>
                  <a:lnTo>
                    <a:pt x="223" y="832"/>
                  </a:lnTo>
                  <a:lnTo>
                    <a:pt x="216" y="840"/>
                  </a:lnTo>
                  <a:lnTo>
                    <a:pt x="238" y="851"/>
                  </a:lnTo>
                  <a:lnTo>
                    <a:pt x="268" y="840"/>
                  </a:lnTo>
                  <a:lnTo>
                    <a:pt x="275" y="854"/>
                  </a:lnTo>
                  <a:lnTo>
                    <a:pt x="298" y="858"/>
                  </a:lnTo>
                  <a:lnTo>
                    <a:pt x="314" y="865"/>
                  </a:lnTo>
                  <a:lnTo>
                    <a:pt x="307" y="873"/>
                  </a:lnTo>
                  <a:lnTo>
                    <a:pt x="286" y="869"/>
                  </a:lnTo>
                  <a:lnTo>
                    <a:pt x="283" y="877"/>
                  </a:lnTo>
                  <a:lnTo>
                    <a:pt x="286" y="888"/>
                  </a:lnTo>
                  <a:lnTo>
                    <a:pt x="275" y="903"/>
                  </a:lnTo>
                  <a:lnTo>
                    <a:pt x="257" y="917"/>
                  </a:lnTo>
                  <a:lnTo>
                    <a:pt x="249" y="921"/>
                  </a:lnTo>
                  <a:lnTo>
                    <a:pt x="242" y="925"/>
                  </a:lnTo>
                  <a:lnTo>
                    <a:pt x="246" y="943"/>
                  </a:lnTo>
                  <a:lnTo>
                    <a:pt x="238" y="954"/>
                  </a:lnTo>
                  <a:lnTo>
                    <a:pt x="227" y="977"/>
                  </a:lnTo>
                  <a:lnTo>
                    <a:pt x="231" y="999"/>
                  </a:lnTo>
                  <a:lnTo>
                    <a:pt x="223" y="1032"/>
                  </a:lnTo>
                  <a:lnTo>
                    <a:pt x="216" y="1047"/>
                  </a:lnTo>
                  <a:lnTo>
                    <a:pt x="216" y="1069"/>
                  </a:lnTo>
                  <a:lnTo>
                    <a:pt x="205" y="1084"/>
                  </a:lnTo>
                  <a:lnTo>
                    <a:pt x="190" y="1110"/>
                  </a:lnTo>
                  <a:lnTo>
                    <a:pt x="186" y="1129"/>
                  </a:lnTo>
                  <a:lnTo>
                    <a:pt x="159" y="1125"/>
                  </a:lnTo>
                  <a:lnTo>
                    <a:pt x="133" y="1125"/>
                  </a:lnTo>
                  <a:lnTo>
                    <a:pt x="130" y="1136"/>
                  </a:lnTo>
                  <a:lnTo>
                    <a:pt x="115" y="1140"/>
                  </a:lnTo>
                  <a:lnTo>
                    <a:pt x="107" y="1144"/>
                  </a:lnTo>
                  <a:lnTo>
                    <a:pt x="111" y="1157"/>
                  </a:lnTo>
                  <a:lnTo>
                    <a:pt x="107" y="1176"/>
                  </a:lnTo>
                  <a:lnTo>
                    <a:pt x="89" y="1187"/>
                  </a:lnTo>
                  <a:lnTo>
                    <a:pt x="78" y="1176"/>
                  </a:lnTo>
                  <a:lnTo>
                    <a:pt x="63" y="1187"/>
                  </a:lnTo>
                  <a:lnTo>
                    <a:pt x="44" y="1187"/>
                  </a:lnTo>
                  <a:lnTo>
                    <a:pt x="37" y="1176"/>
                  </a:lnTo>
                  <a:lnTo>
                    <a:pt x="44" y="1168"/>
                  </a:lnTo>
                  <a:lnTo>
                    <a:pt x="48" y="1147"/>
                  </a:lnTo>
                  <a:lnTo>
                    <a:pt x="33" y="1118"/>
                  </a:lnTo>
                  <a:lnTo>
                    <a:pt x="26" y="1103"/>
                  </a:lnTo>
                  <a:lnTo>
                    <a:pt x="30" y="1095"/>
                  </a:lnTo>
                  <a:lnTo>
                    <a:pt x="37" y="1095"/>
                  </a:lnTo>
                  <a:lnTo>
                    <a:pt x="41" y="1088"/>
                  </a:lnTo>
                  <a:lnTo>
                    <a:pt x="44" y="1080"/>
                  </a:lnTo>
                  <a:lnTo>
                    <a:pt x="48" y="1073"/>
                  </a:lnTo>
                  <a:lnTo>
                    <a:pt x="44" y="1066"/>
                  </a:lnTo>
                  <a:lnTo>
                    <a:pt x="37" y="1051"/>
                  </a:lnTo>
                  <a:lnTo>
                    <a:pt x="22" y="1029"/>
                  </a:lnTo>
                  <a:lnTo>
                    <a:pt x="26" y="1006"/>
                  </a:lnTo>
                  <a:lnTo>
                    <a:pt x="15" y="988"/>
                  </a:lnTo>
                  <a:lnTo>
                    <a:pt x="4" y="977"/>
                  </a:lnTo>
                  <a:lnTo>
                    <a:pt x="11" y="958"/>
                  </a:lnTo>
                  <a:lnTo>
                    <a:pt x="19" y="921"/>
                  </a:lnTo>
                  <a:lnTo>
                    <a:pt x="4" y="903"/>
                  </a:lnTo>
                  <a:lnTo>
                    <a:pt x="0" y="884"/>
                  </a:lnTo>
                  <a:lnTo>
                    <a:pt x="0" y="873"/>
                  </a:lnTo>
                  <a:lnTo>
                    <a:pt x="7" y="851"/>
                  </a:lnTo>
                  <a:lnTo>
                    <a:pt x="19" y="854"/>
                  </a:lnTo>
                  <a:lnTo>
                    <a:pt x="30" y="825"/>
                  </a:lnTo>
                  <a:lnTo>
                    <a:pt x="30" y="791"/>
                  </a:lnTo>
                  <a:lnTo>
                    <a:pt x="33" y="780"/>
                  </a:lnTo>
                  <a:lnTo>
                    <a:pt x="48" y="769"/>
                  </a:lnTo>
                  <a:lnTo>
                    <a:pt x="70" y="754"/>
                  </a:lnTo>
                  <a:lnTo>
                    <a:pt x="70" y="736"/>
                  </a:lnTo>
                  <a:lnTo>
                    <a:pt x="67" y="680"/>
                  </a:lnTo>
                  <a:lnTo>
                    <a:pt x="59" y="673"/>
                  </a:lnTo>
                  <a:lnTo>
                    <a:pt x="59" y="658"/>
                  </a:lnTo>
                  <a:lnTo>
                    <a:pt x="78" y="650"/>
                  </a:lnTo>
                  <a:lnTo>
                    <a:pt x="85" y="643"/>
                  </a:lnTo>
                  <a:lnTo>
                    <a:pt x="74" y="621"/>
                  </a:lnTo>
                  <a:lnTo>
                    <a:pt x="59" y="599"/>
                  </a:lnTo>
                  <a:lnTo>
                    <a:pt x="63" y="573"/>
                  </a:lnTo>
                  <a:lnTo>
                    <a:pt x="67" y="555"/>
                  </a:lnTo>
                  <a:lnTo>
                    <a:pt x="82" y="522"/>
                  </a:lnTo>
                  <a:lnTo>
                    <a:pt x="82" y="507"/>
                  </a:lnTo>
                  <a:lnTo>
                    <a:pt x="82" y="477"/>
                  </a:lnTo>
                  <a:lnTo>
                    <a:pt x="93" y="451"/>
                  </a:lnTo>
                  <a:lnTo>
                    <a:pt x="111" y="436"/>
                  </a:lnTo>
                  <a:lnTo>
                    <a:pt x="130" y="425"/>
                  </a:lnTo>
                  <a:lnTo>
                    <a:pt x="148" y="429"/>
                  </a:lnTo>
                  <a:lnTo>
                    <a:pt x="167" y="436"/>
                  </a:lnTo>
                  <a:lnTo>
                    <a:pt x="175" y="410"/>
                  </a:lnTo>
                  <a:lnTo>
                    <a:pt x="167" y="388"/>
                  </a:lnTo>
                  <a:lnTo>
                    <a:pt x="159" y="373"/>
                  </a:lnTo>
                  <a:lnTo>
                    <a:pt x="156" y="362"/>
                  </a:lnTo>
                  <a:lnTo>
                    <a:pt x="159" y="351"/>
                  </a:lnTo>
                  <a:lnTo>
                    <a:pt x="172" y="347"/>
                  </a:lnTo>
                  <a:lnTo>
                    <a:pt x="175" y="322"/>
                  </a:lnTo>
                  <a:lnTo>
                    <a:pt x="183" y="299"/>
                  </a:lnTo>
                  <a:lnTo>
                    <a:pt x="186" y="281"/>
                  </a:lnTo>
                  <a:lnTo>
                    <a:pt x="186" y="262"/>
                  </a:lnTo>
                  <a:lnTo>
                    <a:pt x="197" y="244"/>
                  </a:lnTo>
                  <a:lnTo>
                    <a:pt x="220" y="229"/>
                  </a:lnTo>
                  <a:lnTo>
                    <a:pt x="235" y="225"/>
                  </a:lnTo>
                  <a:lnTo>
                    <a:pt x="235" y="207"/>
                  </a:lnTo>
                  <a:lnTo>
                    <a:pt x="242" y="195"/>
                  </a:lnTo>
                  <a:lnTo>
                    <a:pt x="257" y="177"/>
                  </a:lnTo>
                  <a:lnTo>
                    <a:pt x="272" y="166"/>
                  </a:lnTo>
                  <a:lnTo>
                    <a:pt x="264" y="134"/>
                  </a:lnTo>
                  <a:lnTo>
                    <a:pt x="292" y="103"/>
                  </a:lnTo>
                  <a:lnTo>
                    <a:pt x="298" y="90"/>
                  </a:lnTo>
                  <a:lnTo>
                    <a:pt x="318" y="86"/>
                  </a:lnTo>
                  <a:lnTo>
                    <a:pt x="331" y="69"/>
                  </a:lnTo>
                  <a:lnTo>
                    <a:pt x="331" y="58"/>
                  </a:lnTo>
                  <a:lnTo>
                    <a:pt x="344" y="45"/>
                  </a:lnTo>
                  <a:lnTo>
                    <a:pt x="368" y="42"/>
                  </a:lnTo>
                  <a:lnTo>
                    <a:pt x="396" y="42"/>
                  </a:lnTo>
                  <a:lnTo>
                    <a:pt x="418" y="21"/>
                  </a:lnTo>
                  <a:lnTo>
                    <a:pt x="4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CA">
                <a:latin typeface="Arial Narrow" pitchFamily="34" charset="0"/>
              </a:endParaRPr>
            </a:p>
          </p:txBody>
        </p:sp>
      </p:grpSp>
      <p:grpSp>
        <p:nvGrpSpPr>
          <p:cNvPr id="3" name="Group 80"/>
          <p:cNvGrpSpPr>
            <a:grpSpLocks noChangeAspect="1"/>
          </p:cNvGrpSpPr>
          <p:nvPr/>
        </p:nvGrpSpPr>
        <p:grpSpPr bwMode="auto">
          <a:xfrm>
            <a:off x="2938314" y="3126135"/>
            <a:ext cx="84137" cy="123825"/>
            <a:chOff x="2312" y="1597"/>
            <a:chExt cx="61" cy="97"/>
          </a:xfrm>
          <a:solidFill>
            <a:srgbClr val="66FF66"/>
          </a:solidFill>
        </p:grpSpPr>
        <p:sp>
          <p:nvSpPr>
            <p:cNvPr id="173" name="Freeform 81"/>
            <p:cNvSpPr>
              <a:spLocks noChangeAspect="1"/>
            </p:cNvSpPr>
            <p:nvPr/>
          </p:nvSpPr>
          <p:spPr bwMode="auto">
            <a:xfrm>
              <a:off x="2312" y="1597"/>
              <a:ext cx="61" cy="97"/>
            </a:xfrm>
            <a:custGeom>
              <a:avLst/>
              <a:gdLst>
                <a:gd name="T0" fmla="*/ 53 w 61"/>
                <a:gd name="T1" fmla="*/ 0 h 97"/>
                <a:gd name="T2" fmla="*/ 53 w 61"/>
                <a:gd name="T3" fmla="*/ 17 h 97"/>
                <a:gd name="T4" fmla="*/ 61 w 61"/>
                <a:gd name="T5" fmla="*/ 32 h 97"/>
                <a:gd name="T6" fmla="*/ 53 w 61"/>
                <a:gd name="T7" fmla="*/ 49 h 97"/>
                <a:gd name="T8" fmla="*/ 43 w 61"/>
                <a:gd name="T9" fmla="*/ 63 h 97"/>
                <a:gd name="T10" fmla="*/ 24 w 61"/>
                <a:gd name="T11" fmla="*/ 80 h 97"/>
                <a:gd name="T12" fmla="*/ 9 w 61"/>
                <a:gd name="T13" fmla="*/ 97 h 97"/>
                <a:gd name="T14" fmla="*/ 0 w 61"/>
                <a:gd name="T15" fmla="*/ 80 h 97"/>
                <a:gd name="T16" fmla="*/ 6 w 61"/>
                <a:gd name="T17" fmla="*/ 73 h 97"/>
                <a:gd name="T18" fmla="*/ 24 w 61"/>
                <a:gd name="T19" fmla="*/ 54 h 97"/>
                <a:gd name="T20" fmla="*/ 23 w 61"/>
                <a:gd name="T21" fmla="*/ 43 h 97"/>
                <a:gd name="T22" fmla="*/ 32 w 61"/>
                <a:gd name="T23" fmla="*/ 28 h 97"/>
                <a:gd name="T24" fmla="*/ 55 w 61"/>
                <a:gd name="T25" fmla="*/ 9 h 97"/>
                <a:gd name="T26" fmla="*/ 55 w 61"/>
                <a:gd name="T27" fmla="*/ 15 h 97"/>
                <a:gd name="T28" fmla="*/ 59 w 61"/>
                <a:gd name="T29" fmla="*/ 24 h 97"/>
                <a:gd name="T30" fmla="*/ 53 w 61"/>
                <a:gd name="T31" fmla="*/ 0 h 9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1"/>
                <a:gd name="T49" fmla="*/ 0 h 97"/>
                <a:gd name="T50" fmla="*/ 61 w 61"/>
                <a:gd name="T51" fmla="*/ 97 h 9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1" h="97">
                  <a:moveTo>
                    <a:pt x="53" y="0"/>
                  </a:moveTo>
                  <a:lnTo>
                    <a:pt x="53" y="17"/>
                  </a:lnTo>
                  <a:lnTo>
                    <a:pt x="61" y="32"/>
                  </a:lnTo>
                  <a:lnTo>
                    <a:pt x="53" y="49"/>
                  </a:lnTo>
                  <a:lnTo>
                    <a:pt x="43" y="63"/>
                  </a:lnTo>
                  <a:lnTo>
                    <a:pt x="24" y="80"/>
                  </a:lnTo>
                  <a:lnTo>
                    <a:pt x="9" y="97"/>
                  </a:lnTo>
                  <a:lnTo>
                    <a:pt x="0" y="80"/>
                  </a:lnTo>
                  <a:lnTo>
                    <a:pt x="6" y="73"/>
                  </a:lnTo>
                  <a:lnTo>
                    <a:pt x="24" y="54"/>
                  </a:lnTo>
                  <a:lnTo>
                    <a:pt x="23" y="43"/>
                  </a:lnTo>
                  <a:lnTo>
                    <a:pt x="32" y="28"/>
                  </a:lnTo>
                  <a:lnTo>
                    <a:pt x="55" y="9"/>
                  </a:lnTo>
                  <a:lnTo>
                    <a:pt x="55" y="15"/>
                  </a:lnTo>
                  <a:lnTo>
                    <a:pt x="59" y="24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9525" cmpd="sng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6393" tIns="43196" rIns="86393" bIns="43196" anchor="ctr"/>
            <a:lstStyle/>
            <a:p>
              <a:endParaRPr lang="en-CA"/>
            </a:p>
          </p:txBody>
        </p:sp>
        <p:sp>
          <p:nvSpPr>
            <p:cNvPr id="174" name="Freeform 82"/>
            <p:cNvSpPr>
              <a:spLocks noChangeAspect="1"/>
            </p:cNvSpPr>
            <p:nvPr/>
          </p:nvSpPr>
          <p:spPr bwMode="auto">
            <a:xfrm>
              <a:off x="2312" y="1597"/>
              <a:ext cx="61" cy="97"/>
            </a:xfrm>
            <a:custGeom>
              <a:avLst/>
              <a:gdLst>
                <a:gd name="T0" fmla="*/ 53 w 61"/>
                <a:gd name="T1" fmla="*/ 0 h 97"/>
                <a:gd name="T2" fmla="*/ 53 w 61"/>
                <a:gd name="T3" fmla="*/ 17 h 97"/>
                <a:gd name="T4" fmla="*/ 61 w 61"/>
                <a:gd name="T5" fmla="*/ 32 h 97"/>
                <a:gd name="T6" fmla="*/ 53 w 61"/>
                <a:gd name="T7" fmla="*/ 49 h 97"/>
                <a:gd name="T8" fmla="*/ 43 w 61"/>
                <a:gd name="T9" fmla="*/ 63 h 97"/>
                <a:gd name="T10" fmla="*/ 24 w 61"/>
                <a:gd name="T11" fmla="*/ 80 h 97"/>
                <a:gd name="T12" fmla="*/ 9 w 61"/>
                <a:gd name="T13" fmla="*/ 97 h 97"/>
                <a:gd name="T14" fmla="*/ 0 w 61"/>
                <a:gd name="T15" fmla="*/ 80 h 97"/>
                <a:gd name="T16" fmla="*/ 6 w 61"/>
                <a:gd name="T17" fmla="*/ 73 h 97"/>
                <a:gd name="T18" fmla="*/ 24 w 61"/>
                <a:gd name="T19" fmla="*/ 54 h 97"/>
                <a:gd name="T20" fmla="*/ 23 w 61"/>
                <a:gd name="T21" fmla="*/ 43 h 97"/>
                <a:gd name="T22" fmla="*/ 32 w 61"/>
                <a:gd name="T23" fmla="*/ 28 h 97"/>
                <a:gd name="T24" fmla="*/ 55 w 61"/>
                <a:gd name="T25" fmla="*/ 9 h 97"/>
                <a:gd name="T26" fmla="*/ 55 w 61"/>
                <a:gd name="T27" fmla="*/ 15 h 97"/>
                <a:gd name="T28" fmla="*/ 59 w 61"/>
                <a:gd name="T29" fmla="*/ 24 h 9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1"/>
                <a:gd name="T46" fmla="*/ 0 h 97"/>
                <a:gd name="T47" fmla="*/ 61 w 61"/>
                <a:gd name="T48" fmla="*/ 97 h 9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1" h="97">
                  <a:moveTo>
                    <a:pt x="53" y="0"/>
                  </a:moveTo>
                  <a:lnTo>
                    <a:pt x="53" y="17"/>
                  </a:lnTo>
                  <a:lnTo>
                    <a:pt x="61" y="32"/>
                  </a:lnTo>
                  <a:lnTo>
                    <a:pt x="53" y="49"/>
                  </a:lnTo>
                  <a:lnTo>
                    <a:pt x="43" y="63"/>
                  </a:lnTo>
                  <a:lnTo>
                    <a:pt x="24" y="80"/>
                  </a:lnTo>
                  <a:lnTo>
                    <a:pt x="9" y="97"/>
                  </a:lnTo>
                  <a:lnTo>
                    <a:pt x="0" y="80"/>
                  </a:lnTo>
                  <a:lnTo>
                    <a:pt x="6" y="73"/>
                  </a:lnTo>
                  <a:lnTo>
                    <a:pt x="24" y="54"/>
                  </a:lnTo>
                  <a:lnTo>
                    <a:pt x="23" y="43"/>
                  </a:lnTo>
                  <a:lnTo>
                    <a:pt x="32" y="28"/>
                  </a:lnTo>
                  <a:lnTo>
                    <a:pt x="55" y="9"/>
                  </a:lnTo>
                  <a:lnTo>
                    <a:pt x="55" y="15"/>
                  </a:lnTo>
                  <a:lnTo>
                    <a:pt x="59" y="24"/>
                  </a:lnTo>
                </a:path>
              </a:pathLst>
            </a:custGeom>
            <a:grpFill/>
            <a:ln w="9525" cmpd="sng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6393" tIns="43196" rIns="86393" bIns="43196" anchor="ctr"/>
            <a:lstStyle/>
            <a:p>
              <a:endParaRPr lang="en-CA"/>
            </a:p>
          </p:txBody>
        </p:sp>
      </p:grpSp>
      <p:sp>
        <p:nvSpPr>
          <p:cNvPr id="175" name="Freeform 83"/>
          <p:cNvSpPr>
            <a:spLocks noChangeAspect="1"/>
          </p:cNvSpPr>
          <p:nvPr/>
        </p:nvSpPr>
        <p:spPr bwMode="auto">
          <a:xfrm>
            <a:off x="2846239" y="3072160"/>
            <a:ext cx="104775" cy="101600"/>
          </a:xfrm>
          <a:custGeom>
            <a:avLst/>
            <a:gdLst>
              <a:gd name="T0" fmla="*/ 57902 w 76"/>
              <a:gd name="T1" fmla="*/ 0 h 78"/>
              <a:gd name="T2" fmla="*/ 49630 w 76"/>
              <a:gd name="T3" fmla="*/ 10421 h 78"/>
              <a:gd name="T4" fmla="*/ 34465 w 76"/>
              <a:gd name="T5" fmla="*/ 7815 h 78"/>
              <a:gd name="T6" fmla="*/ 26194 w 76"/>
              <a:gd name="T7" fmla="*/ 5210 h 78"/>
              <a:gd name="T8" fmla="*/ 28951 w 76"/>
              <a:gd name="T9" fmla="*/ 18236 h 78"/>
              <a:gd name="T10" fmla="*/ 31708 w 76"/>
              <a:gd name="T11" fmla="*/ 28656 h 78"/>
              <a:gd name="T12" fmla="*/ 33087 w 76"/>
              <a:gd name="T13" fmla="*/ 35169 h 78"/>
              <a:gd name="T14" fmla="*/ 27572 w 76"/>
              <a:gd name="T15" fmla="*/ 36472 h 78"/>
              <a:gd name="T16" fmla="*/ 17922 w 76"/>
              <a:gd name="T17" fmla="*/ 32564 h 78"/>
              <a:gd name="T18" fmla="*/ 17922 w 76"/>
              <a:gd name="T19" fmla="*/ 28656 h 78"/>
              <a:gd name="T20" fmla="*/ 11029 w 76"/>
              <a:gd name="T21" fmla="*/ 28656 h 78"/>
              <a:gd name="T22" fmla="*/ 13786 w 76"/>
              <a:gd name="T23" fmla="*/ 36472 h 78"/>
              <a:gd name="T24" fmla="*/ 8272 w 76"/>
              <a:gd name="T25" fmla="*/ 45590 h 78"/>
              <a:gd name="T26" fmla="*/ 0 w 76"/>
              <a:gd name="T27" fmla="*/ 57313 h 78"/>
              <a:gd name="T28" fmla="*/ 5514 w 76"/>
              <a:gd name="T29" fmla="*/ 67733 h 78"/>
              <a:gd name="T30" fmla="*/ 13786 w 76"/>
              <a:gd name="T31" fmla="*/ 74246 h 78"/>
              <a:gd name="T32" fmla="*/ 22058 w 76"/>
              <a:gd name="T33" fmla="*/ 67733 h 78"/>
              <a:gd name="T34" fmla="*/ 33087 w 76"/>
              <a:gd name="T35" fmla="*/ 61221 h 78"/>
              <a:gd name="T36" fmla="*/ 52388 w 76"/>
              <a:gd name="T37" fmla="*/ 56010 h 78"/>
              <a:gd name="T38" fmla="*/ 62038 w 76"/>
              <a:gd name="T39" fmla="*/ 57313 h 78"/>
              <a:gd name="T40" fmla="*/ 57902 w 76"/>
              <a:gd name="T41" fmla="*/ 45590 h 78"/>
              <a:gd name="T42" fmla="*/ 66174 w 76"/>
              <a:gd name="T43" fmla="*/ 39077 h 78"/>
              <a:gd name="T44" fmla="*/ 75824 w 76"/>
              <a:gd name="T45" fmla="*/ 26051 h 78"/>
              <a:gd name="T46" fmla="*/ 70310 w 76"/>
              <a:gd name="T47" fmla="*/ 18236 h 78"/>
              <a:gd name="T48" fmla="*/ 64795 w 76"/>
              <a:gd name="T49" fmla="*/ 10421 h 78"/>
              <a:gd name="T50" fmla="*/ 57902 w 76"/>
              <a:gd name="T51" fmla="*/ 0 h 7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76"/>
              <a:gd name="T79" fmla="*/ 0 h 78"/>
              <a:gd name="T80" fmla="*/ 76 w 76"/>
              <a:gd name="T81" fmla="*/ 78 h 7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76" h="78">
                <a:moveTo>
                  <a:pt x="59" y="0"/>
                </a:moveTo>
                <a:lnTo>
                  <a:pt x="50" y="11"/>
                </a:lnTo>
                <a:lnTo>
                  <a:pt x="35" y="9"/>
                </a:lnTo>
                <a:lnTo>
                  <a:pt x="26" y="7"/>
                </a:lnTo>
                <a:lnTo>
                  <a:pt x="30" y="20"/>
                </a:lnTo>
                <a:lnTo>
                  <a:pt x="32" y="30"/>
                </a:lnTo>
                <a:lnTo>
                  <a:pt x="33" y="37"/>
                </a:lnTo>
                <a:lnTo>
                  <a:pt x="28" y="39"/>
                </a:lnTo>
                <a:lnTo>
                  <a:pt x="19" y="35"/>
                </a:lnTo>
                <a:lnTo>
                  <a:pt x="19" y="30"/>
                </a:lnTo>
                <a:lnTo>
                  <a:pt x="11" y="30"/>
                </a:lnTo>
                <a:lnTo>
                  <a:pt x="13" y="39"/>
                </a:lnTo>
                <a:lnTo>
                  <a:pt x="9" y="48"/>
                </a:lnTo>
                <a:lnTo>
                  <a:pt x="0" y="61"/>
                </a:lnTo>
                <a:lnTo>
                  <a:pt x="4" y="72"/>
                </a:lnTo>
                <a:lnTo>
                  <a:pt x="13" y="78"/>
                </a:lnTo>
                <a:lnTo>
                  <a:pt x="22" y="72"/>
                </a:lnTo>
                <a:lnTo>
                  <a:pt x="33" y="65"/>
                </a:lnTo>
                <a:lnTo>
                  <a:pt x="54" y="59"/>
                </a:lnTo>
                <a:lnTo>
                  <a:pt x="63" y="61"/>
                </a:lnTo>
                <a:lnTo>
                  <a:pt x="59" y="48"/>
                </a:lnTo>
                <a:lnTo>
                  <a:pt x="67" y="41"/>
                </a:lnTo>
                <a:lnTo>
                  <a:pt x="76" y="28"/>
                </a:lnTo>
                <a:lnTo>
                  <a:pt x="72" y="20"/>
                </a:lnTo>
                <a:lnTo>
                  <a:pt x="65" y="11"/>
                </a:lnTo>
                <a:lnTo>
                  <a:pt x="59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76" name="Freeform 84"/>
          <p:cNvSpPr>
            <a:spLocks noChangeAspect="1"/>
          </p:cNvSpPr>
          <p:nvPr/>
        </p:nvSpPr>
        <p:spPr bwMode="auto">
          <a:xfrm>
            <a:off x="2406501" y="1743422"/>
            <a:ext cx="1392238" cy="1439863"/>
          </a:xfrm>
          <a:custGeom>
            <a:avLst/>
            <a:gdLst>
              <a:gd name="T0" fmla="*/ 297158 w 1012"/>
              <a:gd name="T1" fmla="*/ 944342 h 1110"/>
              <a:gd name="T2" fmla="*/ 337054 w 1012"/>
              <a:gd name="T3" fmla="*/ 885970 h 1110"/>
              <a:gd name="T4" fmla="*/ 324672 w 1012"/>
              <a:gd name="T5" fmla="*/ 805545 h 1110"/>
              <a:gd name="T6" fmla="*/ 334302 w 1012"/>
              <a:gd name="T7" fmla="*/ 736795 h 1110"/>
              <a:gd name="T8" fmla="*/ 352187 w 1012"/>
              <a:gd name="T9" fmla="*/ 640804 h 1110"/>
              <a:gd name="T10" fmla="*/ 403089 w 1012"/>
              <a:gd name="T11" fmla="*/ 574648 h 1110"/>
              <a:gd name="T12" fmla="*/ 430603 w 1012"/>
              <a:gd name="T13" fmla="*/ 522761 h 1110"/>
              <a:gd name="T14" fmla="*/ 449864 w 1012"/>
              <a:gd name="T15" fmla="*/ 472171 h 1110"/>
              <a:gd name="T16" fmla="*/ 504893 w 1012"/>
              <a:gd name="T17" fmla="*/ 385261 h 1110"/>
              <a:gd name="T18" fmla="*/ 535159 w 1012"/>
              <a:gd name="T19" fmla="*/ 316510 h 1110"/>
              <a:gd name="T20" fmla="*/ 602569 w 1012"/>
              <a:gd name="T21" fmla="*/ 247760 h 1110"/>
              <a:gd name="T22" fmla="*/ 658974 w 1012"/>
              <a:gd name="T23" fmla="*/ 224411 h 1110"/>
              <a:gd name="T24" fmla="*/ 696119 w 1012"/>
              <a:gd name="T25" fmla="*/ 162147 h 1110"/>
              <a:gd name="T26" fmla="*/ 785542 w 1012"/>
              <a:gd name="T27" fmla="*/ 194576 h 1110"/>
              <a:gd name="T28" fmla="*/ 833692 w 1012"/>
              <a:gd name="T29" fmla="*/ 206251 h 1110"/>
              <a:gd name="T30" fmla="*/ 858455 w 1012"/>
              <a:gd name="T31" fmla="*/ 124529 h 1110"/>
              <a:gd name="T32" fmla="*/ 932745 w 1012"/>
              <a:gd name="T33" fmla="*/ 116746 h 1110"/>
              <a:gd name="T34" fmla="*/ 960259 w 1012"/>
              <a:gd name="T35" fmla="*/ 147878 h 1110"/>
              <a:gd name="T36" fmla="*/ 982271 w 1012"/>
              <a:gd name="T37" fmla="*/ 106368 h 1110"/>
              <a:gd name="T38" fmla="*/ 1008410 w 1012"/>
              <a:gd name="T39" fmla="*/ 58373 h 1110"/>
              <a:gd name="T40" fmla="*/ 960259 w 1012"/>
              <a:gd name="T41" fmla="*/ 16863 h 1110"/>
              <a:gd name="T42" fmla="*/ 914860 w 1012"/>
              <a:gd name="T43" fmla="*/ 20755 h 1110"/>
              <a:gd name="T44" fmla="*/ 888721 w 1012"/>
              <a:gd name="T45" fmla="*/ 16863 h 1110"/>
              <a:gd name="T46" fmla="*/ 852952 w 1012"/>
              <a:gd name="T47" fmla="*/ 40212 h 1110"/>
              <a:gd name="T48" fmla="*/ 837819 w 1012"/>
              <a:gd name="T49" fmla="*/ 27241 h 1110"/>
              <a:gd name="T50" fmla="*/ 780039 w 1012"/>
              <a:gd name="T51" fmla="*/ 89505 h 1110"/>
              <a:gd name="T52" fmla="*/ 726385 w 1012"/>
              <a:gd name="T53" fmla="*/ 106368 h 1110"/>
              <a:gd name="T54" fmla="*/ 667229 w 1012"/>
              <a:gd name="T55" fmla="*/ 124529 h 1110"/>
              <a:gd name="T56" fmla="*/ 595691 w 1012"/>
              <a:gd name="T57" fmla="*/ 138798 h 1110"/>
              <a:gd name="T58" fmla="*/ 588812 w 1012"/>
              <a:gd name="T59" fmla="*/ 189387 h 1110"/>
              <a:gd name="T60" fmla="*/ 580558 w 1012"/>
              <a:gd name="T61" fmla="*/ 233491 h 1110"/>
              <a:gd name="T62" fmla="*/ 524153 w 1012"/>
              <a:gd name="T63" fmla="*/ 243869 h 1110"/>
              <a:gd name="T64" fmla="*/ 504893 w 1012"/>
              <a:gd name="T65" fmla="*/ 282784 h 1110"/>
              <a:gd name="T66" fmla="*/ 460869 w 1012"/>
              <a:gd name="T67" fmla="*/ 337265 h 1110"/>
              <a:gd name="T68" fmla="*/ 414095 w 1012"/>
              <a:gd name="T69" fmla="*/ 406015 h 1110"/>
              <a:gd name="T70" fmla="*/ 378326 w 1012"/>
              <a:gd name="T71" fmla="*/ 476063 h 1110"/>
              <a:gd name="T72" fmla="*/ 356314 w 1012"/>
              <a:gd name="T73" fmla="*/ 516275 h 1110"/>
              <a:gd name="T74" fmla="*/ 284776 w 1012"/>
              <a:gd name="T75" fmla="*/ 574648 h 1110"/>
              <a:gd name="T76" fmla="*/ 324672 w 1012"/>
              <a:gd name="T77" fmla="*/ 582431 h 1110"/>
              <a:gd name="T78" fmla="*/ 262764 w 1012"/>
              <a:gd name="T79" fmla="*/ 592808 h 1110"/>
              <a:gd name="T80" fmla="*/ 203608 w 1012"/>
              <a:gd name="T81" fmla="*/ 627832 h 1110"/>
              <a:gd name="T82" fmla="*/ 154082 w 1012"/>
              <a:gd name="T83" fmla="*/ 630426 h 1110"/>
              <a:gd name="T84" fmla="*/ 114186 w 1012"/>
              <a:gd name="T85" fmla="*/ 656370 h 1110"/>
              <a:gd name="T86" fmla="*/ 86671 w 1012"/>
              <a:gd name="T87" fmla="*/ 682313 h 1110"/>
              <a:gd name="T88" fmla="*/ 34393 w 1012"/>
              <a:gd name="T89" fmla="*/ 714743 h 1110"/>
              <a:gd name="T90" fmla="*/ 19260 w 1012"/>
              <a:gd name="T91" fmla="*/ 827597 h 1110"/>
              <a:gd name="T92" fmla="*/ 41272 w 1012"/>
              <a:gd name="T93" fmla="*/ 853540 h 1110"/>
              <a:gd name="T94" fmla="*/ 19260 w 1012"/>
              <a:gd name="T95" fmla="*/ 905427 h 1110"/>
              <a:gd name="T96" fmla="*/ 33018 w 1012"/>
              <a:gd name="T97" fmla="*/ 933965 h 1110"/>
              <a:gd name="T98" fmla="*/ 0 w 1012"/>
              <a:gd name="T99" fmla="*/ 959909 h 1110"/>
              <a:gd name="T100" fmla="*/ 83919 w 1012"/>
              <a:gd name="T101" fmla="*/ 1033847 h 1110"/>
              <a:gd name="T102" fmla="*/ 209111 w 1012"/>
              <a:gd name="T103" fmla="*/ 950828 h 1110"/>
              <a:gd name="T104" fmla="*/ 253134 w 1012"/>
              <a:gd name="T105" fmla="*/ 900239 h 1110"/>
              <a:gd name="T106" fmla="*/ 262764 w 1012"/>
              <a:gd name="T107" fmla="*/ 972880 h 11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12"/>
              <a:gd name="T163" fmla="*/ 0 h 1110"/>
              <a:gd name="T164" fmla="*/ 1012 w 1012"/>
              <a:gd name="T165" fmla="*/ 1110 h 11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  <a:lnTo>
                  <a:pt x="271" y="1045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77" name="Freeform 85"/>
          <p:cNvSpPr>
            <a:spLocks noChangeAspect="1"/>
          </p:cNvSpPr>
          <p:nvPr/>
        </p:nvSpPr>
        <p:spPr bwMode="auto">
          <a:xfrm>
            <a:off x="2406501" y="1743422"/>
            <a:ext cx="1392238" cy="1439863"/>
          </a:xfrm>
          <a:custGeom>
            <a:avLst/>
            <a:gdLst>
              <a:gd name="T0" fmla="*/ 297158 w 1012"/>
              <a:gd name="T1" fmla="*/ 944342 h 1110"/>
              <a:gd name="T2" fmla="*/ 337054 w 1012"/>
              <a:gd name="T3" fmla="*/ 885970 h 1110"/>
              <a:gd name="T4" fmla="*/ 324672 w 1012"/>
              <a:gd name="T5" fmla="*/ 805545 h 1110"/>
              <a:gd name="T6" fmla="*/ 334302 w 1012"/>
              <a:gd name="T7" fmla="*/ 736795 h 1110"/>
              <a:gd name="T8" fmla="*/ 352187 w 1012"/>
              <a:gd name="T9" fmla="*/ 640804 h 1110"/>
              <a:gd name="T10" fmla="*/ 403089 w 1012"/>
              <a:gd name="T11" fmla="*/ 574648 h 1110"/>
              <a:gd name="T12" fmla="*/ 430603 w 1012"/>
              <a:gd name="T13" fmla="*/ 522761 h 1110"/>
              <a:gd name="T14" fmla="*/ 449864 w 1012"/>
              <a:gd name="T15" fmla="*/ 472171 h 1110"/>
              <a:gd name="T16" fmla="*/ 504893 w 1012"/>
              <a:gd name="T17" fmla="*/ 385261 h 1110"/>
              <a:gd name="T18" fmla="*/ 535159 w 1012"/>
              <a:gd name="T19" fmla="*/ 316510 h 1110"/>
              <a:gd name="T20" fmla="*/ 602569 w 1012"/>
              <a:gd name="T21" fmla="*/ 247760 h 1110"/>
              <a:gd name="T22" fmla="*/ 658974 w 1012"/>
              <a:gd name="T23" fmla="*/ 224411 h 1110"/>
              <a:gd name="T24" fmla="*/ 696119 w 1012"/>
              <a:gd name="T25" fmla="*/ 162147 h 1110"/>
              <a:gd name="T26" fmla="*/ 785542 w 1012"/>
              <a:gd name="T27" fmla="*/ 194576 h 1110"/>
              <a:gd name="T28" fmla="*/ 833692 w 1012"/>
              <a:gd name="T29" fmla="*/ 206251 h 1110"/>
              <a:gd name="T30" fmla="*/ 858455 w 1012"/>
              <a:gd name="T31" fmla="*/ 124529 h 1110"/>
              <a:gd name="T32" fmla="*/ 932745 w 1012"/>
              <a:gd name="T33" fmla="*/ 116746 h 1110"/>
              <a:gd name="T34" fmla="*/ 960259 w 1012"/>
              <a:gd name="T35" fmla="*/ 147878 h 1110"/>
              <a:gd name="T36" fmla="*/ 982271 w 1012"/>
              <a:gd name="T37" fmla="*/ 106368 h 1110"/>
              <a:gd name="T38" fmla="*/ 1008410 w 1012"/>
              <a:gd name="T39" fmla="*/ 58373 h 1110"/>
              <a:gd name="T40" fmla="*/ 960259 w 1012"/>
              <a:gd name="T41" fmla="*/ 16863 h 1110"/>
              <a:gd name="T42" fmla="*/ 914860 w 1012"/>
              <a:gd name="T43" fmla="*/ 20755 h 1110"/>
              <a:gd name="T44" fmla="*/ 888721 w 1012"/>
              <a:gd name="T45" fmla="*/ 16863 h 1110"/>
              <a:gd name="T46" fmla="*/ 852952 w 1012"/>
              <a:gd name="T47" fmla="*/ 40212 h 1110"/>
              <a:gd name="T48" fmla="*/ 837819 w 1012"/>
              <a:gd name="T49" fmla="*/ 27241 h 1110"/>
              <a:gd name="T50" fmla="*/ 780039 w 1012"/>
              <a:gd name="T51" fmla="*/ 89505 h 1110"/>
              <a:gd name="T52" fmla="*/ 726385 w 1012"/>
              <a:gd name="T53" fmla="*/ 106368 h 1110"/>
              <a:gd name="T54" fmla="*/ 667229 w 1012"/>
              <a:gd name="T55" fmla="*/ 124529 h 1110"/>
              <a:gd name="T56" fmla="*/ 595691 w 1012"/>
              <a:gd name="T57" fmla="*/ 138798 h 1110"/>
              <a:gd name="T58" fmla="*/ 588812 w 1012"/>
              <a:gd name="T59" fmla="*/ 189387 h 1110"/>
              <a:gd name="T60" fmla="*/ 580558 w 1012"/>
              <a:gd name="T61" fmla="*/ 233491 h 1110"/>
              <a:gd name="T62" fmla="*/ 524153 w 1012"/>
              <a:gd name="T63" fmla="*/ 243869 h 1110"/>
              <a:gd name="T64" fmla="*/ 504893 w 1012"/>
              <a:gd name="T65" fmla="*/ 282784 h 1110"/>
              <a:gd name="T66" fmla="*/ 460869 w 1012"/>
              <a:gd name="T67" fmla="*/ 337265 h 1110"/>
              <a:gd name="T68" fmla="*/ 414095 w 1012"/>
              <a:gd name="T69" fmla="*/ 406015 h 1110"/>
              <a:gd name="T70" fmla="*/ 378326 w 1012"/>
              <a:gd name="T71" fmla="*/ 476063 h 1110"/>
              <a:gd name="T72" fmla="*/ 356314 w 1012"/>
              <a:gd name="T73" fmla="*/ 516275 h 1110"/>
              <a:gd name="T74" fmla="*/ 284776 w 1012"/>
              <a:gd name="T75" fmla="*/ 574648 h 1110"/>
              <a:gd name="T76" fmla="*/ 324672 w 1012"/>
              <a:gd name="T77" fmla="*/ 582431 h 1110"/>
              <a:gd name="T78" fmla="*/ 262764 w 1012"/>
              <a:gd name="T79" fmla="*/ 592808 h 1110"/>
              <a:gd name="T80" fmla="*/ 203608 w 1012"/>
              <a:gd name="T81" fmla="*/ 627832 h 1110"/>
              <a:gd name="T82" fmla="*/ 154082 w 1012"/>
              <a:gd name="T83" fmla="*/ 630426 h 1110"/>
              <a:gd name="T84" fmla="*/ 114186 w 1012"/>
              <a:gd name="T85" fmla="*/ 656370 h 1110"/>
              <a:gd name="T86" fmla="*/ 86671 w 1012"/>
              <a:gd name="T87" fmla="*/ 682313 h 1110"/>
              <a:gd name="T88" fmla="*/ 34393 w 1012"/>
              <a:gd name="T89" fmla="*/ 714743 h 1110"/>
              <a:gd name="T90" fmla="*/ 19260 w 1012"/>
              <a:gd name="T91" fmla="*/ 827597 h 1110"/>
              <a:gd name="T92" fmla="*/ 41272 w 1012"/>
              <a:gd name="T93" fmla="*/ 853540 h 1110"/>
              <a:gd name="T94" fmla="*/ 19260 w 1012"/>
              <a:gd name="T95" fmla="*/ 905427 h 1110"/>
              <a:gd name="T96" fmla="*/ 33018 w 1012"/>
              <a:gd name="T97" fmla="*/ 933965 h 1110"/>
              <a:gd name="T98" fmla="*/ 0 w 1012"/>
              <a:gd name="T99" fmla="*/ 959909 h 1110"/>
              <a:gd name="T100" fmla="*/ 83919 w 1012"/>
              <a:gd name="T101" fmla="*/ 1033847 h 1110"/>
              <a:gd name="T102" fmla="*/ 209111 w 1012"/>
              <a:gd name="T103" fmla="*/ 950828 h 1110"/>
              <a:gd name="T104" fmla="*/ 253134 w 1012"/>
              <a:gd name="T105" fmla="*/ 900239 h 1110"/>
              <a:gd name="T106" fmla="*/ 262764 w 1012"/>
              <a:gd name="T107" fmla="*/ 972880 h 11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12"/>
              <a:gd name="T163" fmla="*/ 0 h 1110"/>
              <a:gd name="T164" fmla="*/ 1012 w 1012"/>
              <a:gd name="T165" fmla="*/ 1110 h 11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  <a:lnTo>
                  <a:pt x="271" y="1045"/>
                </a:lnTo>
                <a:close/>
              </a:path>
            </a:pathLst>
          </a:custGeom>
          <a:solidFill>
            <a:schemeClr val="accent2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78" name="Freeform 86"/>
          <p:cNvSpPr>
            <a:spLocks noChangeAspect="1"/>
          </p:cNvSpPr>
          <p:nvPr/>
        </p:nvSpPr>
        <p:spPr bwMode="auto">
          <a:xfrm>
            <a:off x="2406501" y="1743422"/>
            <a:ext cx="1392238" cy="1439863"/>
          </a:xfrm>
          <a:custGeom>
            <a:avLst/>
            <a:gdLst>
              <a:gd name="T0" fmla="*/ 297158 w 1012"/>
              <a:gd name="T1" fmla="*/ 944342 h 1110"/>
              <a:gd name="T2" fmla="*/ 337054 w 1012"/>
              <a:gd name="T3" fmla="*/ 885970 h 1110"/>
              <a:gd name="T4" fmla="*/ 324672 w 1012"/>
              <a:gd name="T5" fmla="*/ 805545 h 1110"/>
              <a:gd name="T6" fmla="*/ 334302 w 1012"/>
              <a:gd name="T7" fmla="*/ 736795 h 1110"/>
              <a:gd name="T8" fmla="*/ 352187 w 1012"/>
              <a:gd name="T9" fmla="*/ 640804 h 1110"/>
              <a:gd name="T10" fmla="*/ 403089 w 1012"/>
              <a:gd name="T11" fmla="*/ 574648 h 1110"/>
              <a:gd name="T12" fmla="*/ 430603 w 1012"/>
              <a:gd name="T13" fmla="*/ 522761 h 1110"/>
              <a:gd name="T14" fmla="*/ 449864 w 1012"/>
              <a:gd name="T15" fmla="*/ 472171 h 1110"/>
              <a:gd name="T16" fmla="*/ 504893 w 1012"/>
              <a:gd name="T17" fmla="*/ 385261 h 1110"/>
              <a:gd name="T18" fmla="*/ 535159 w 1012"/>
              <a:gd name="T19" fmla="*/ 316510 h 1110"/>
              <a:gd name="T20" fmla="*/ 602569 w 1012"/>
              <a:gd name="T21" fmla="*/ 247760 h 1110"/>
              <a:gd name="T22" fmla="*/ 658974 w 1012"/>
              <a:gd name="T23" fmla="*/ 224411 h 1110"/>
              <a:gd name="T24" fmla="*/ 696119 w 1012"/>
              <a:gd name="T25" fmla="*/ 162147 h 1110"/>
              <a:gd name="T26" fmla="*/ 785542 w 1012"/>
              <a:gd name="T27" fmla="*/ 194576 h 1110"/>
              <a:gd name="T28" fmla="*/ 833692 w 1012"/>
              <a:gd name="T29" fmla="*/ 206251 h 1110"/>
              <a:gd name="T30" fmla="*/ 858455 w 1012"/>
              <a:gd name="T31" fmla="*/ 124529 h 1110"/>
              <a:gd name="T32" fmla="*/ 932745 w 1012"/>
              <a:gd name="T33" fmla="*/ 116746 h 1110"/>
              <a:gd name="T34" fmla="*/ 960259 w 1012"/>
              <a:gd name="T35" fmla="*/ 147878 h 1110"/>
              <a:gd name="T36" fmla="*/ 982271 w 1012"/>
              <a:gd name="T37" fmla="*/ 106368 h 1110"/>
              <a:gd name="T38" fmla="*/ 1008410 w 1012"/>
              <a:gd name="T39" fmla="*/ 58373 h 1110"/>
              <a:gd name="T40" fmla="*/ 960259 w 1012"/>
              <a:gd name="T41" fmla="*/ 16863 h 1110"/>
              <a:gd name="T42" fmla="*/ 914860 w 1012"/>
              <a:gd name="T43" fmla="*/ 20755 h 1110"/>
              <a:gd name="T44" fmla="*/ 888721 w 1012"/>
              <a:gd name="T45" fmla="*/ 16863 h 1110"/>
              <a:gd name="T46" fmla="*/ 852952 w 1012"/>
              <a:gd name="T47" fmla="*/ 40212 h 1110"/>
              <a:gd name="T48" fmla="*/ 837819 w 1012"/>
              <a:gd name="T49" fmla="*/ 27241 h 1110"/>
              <a:gd name="T50" fmla="*/ 780039 w 1012"/>
              <a:gd name="T51" fmla="*/ 89505 h 1110"/>
              <a:gd name="T52" fmla="*/ 726385 w 1012"/>
              <a:gd name="T53" fmla="*/ 106368 h 1110"/>
              <a:gd name="T54" fmla="*/ 667229 w 1012"/>
              <a:gd name="T55" fmla="*/ 124529 h 1110"/>
              <a:gd name="T56" fmla="*/ 595691 w 1012"/>
              <a:gd name="T57" fmla="*/ 138798 h 1110"/>
              <a:gd name="T58" fmla="*/ 588812 w 1012"/>
              <a:gd name="T59" fmla="*/ 189387 h 1110"/>
              <a:gd name="T60" fmla="*/ 580558 w 1012"/>
              <a:gd name="T61" fmla="*/ 233491 h 1110"/>
              <a:gd name="T62" fmla="*/ 524153 w 1012"/>
              <a:gd name="T63" fmla="*/ 243869 h 1110"/>
              <a:gd name="T64" fmla="*/ 504893 w 1012"/>
              <a:gd name="T65" fmla="*/ 282784 h 1110"/>
              <a:gd name="T66" fmla="*/ 460869 w 1012"/>
              <a:gd name="T67" fmla="*/ 337265 h 1110"/>
              <a:gd name="T68" fmla="*/ 414095 w 1012"/>
              <a:gd name="T69" fmla="*/ 406015 h 1110"/>
              <a:gd name="T70" fmla="*/ 378326 w 1012"/>
              <a:gd name="T71" fmla="*/ 476063 h 1110"/>
              <a:gd name="T72" fmla="*/ 356314 w 1012"/>
              <a:gd name="T73" fmla="*/ 516275 h 1110"/>
              <a:gd name="T74" fmla="*/ 284776 w 1012"/>
              <a:gd name="T75" fmla="*/ 574648 h 1110"/>
              <a:gd name="T76" fmla="*/ 324672 w 1012"/>
              <a:gd name="T77" fmla="*/ 582431 h 1110"/>
              <a:gd name="T78" fmla="*/ 262764 w 1012"/>
              <a:gd name="T79" fmla="*/ 592808 h 1110"/>
              <a:gd name="T80" fmla="*/ 203608 w 1012"/>
              <a:gd name="T81" fmla="*/ 627832 h 1110"/>
              <a:gd name="T82" fmla="*/ 154082 w 1012"/>
              <a:gd name="T83" fmla="*/ 630426 h 1110"/>
              <a:gd name="T84" fmla="*/ 114186 w 1012"/>
              <a:gd name="T85" fmla="*/ 656370 h 1110"/>
              <a:gd name="T86" fmla="*/ 86671 w 1012"/>
              <a:gd name="T87" fmla="*/ 682313 h 1110"/>
              <a:gd name="T88" fmla="*/ 34393 w 1012"/>
              <a:gd name="T89" fmla="*/ 714743 h 1110"/>
              <a:gd name="T90" fmla="*/ 19260 w 1012"/>
              <a:gd name="T91" fmla="*/ 827597 h 1110"/>
              <a:gd name="T92" fmla="*/ 41272 w 1012"/>
              <a:gd name="T93" fmla="*/ 853540 h 1110"/>
              <a:gd name="T94" fmla="*/ 19260 w 1012"/>
              <a:gd name="T95" fmla="*/ 905427 h 1110"/>
              <a:gd name="T96" fmla="*/ 33018 w 1012"/>
              <a:gd name="T97" fmla="*/ 933965 h 1110"/>
              <a:gd name="T98" fmla="*/ 0 w 1012"/>
              <a:gd name="T99" fmla="*/ 959909 h 1110"/>
              <a:gd name="T100" fmla="*/ 83919 w 1012"/>
              <a:gd name="T101" fmla="*/ 1033847 h 1110"/>
              <a:gd name="T102" fmla="*/ 209111 w 1012"/>
              <a:gd name="T103" fmla="*/ 950828 h 1110"/>
              <a:gd name="T104" fmla="*/ 253134 w 1012"/>
              <a:gd name="T105" fmla="*/ 900239 h 1110"/>
              <a:gd name="T106" fmla="*/ 262764 w 1012"/>
              <a:gd name="T107" fmla="*/ 972880 h 11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12"/>
              <a:gd name="T163" fmla="*/ 0 h 1110"/>
              <a:gd name="T164" fmla="*/ 1012 w 1012"/>
              <a:gd name="T165" fmla="*/ 1110 h 11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</a:path>
            </a:pathLst>
          </a:custGeom>
          <a:solidFill>
            <a:srgbClr val="66FF66"/>
          </a:solidFill>
          <a:ln>
            <a:noFill/>
          </a:ln>
          <a:extLst/>
        </p:spPr>
        <p:txBody>
          <a:bodyPr wrap="none" anchor="ctr"/>
          <a:lstStyle/>
          <a:p>
            <a:endParaRPr lang="en-CA">
              <a:latin typeface="Arial Narrow" pitchFamily="34" charset="0"/>
            </a:endParaRPr>
          </a:p>
        </p:txBody>
      </p:sp>
      <p:sp>
        <p:nvSpPr>
          <p:cNvPr id="179" name="Freeform 87"/>
          <p:cNvSpPr>
            <a:spLocks noChangeAspect="1"/>
          </p:cNvSpPr>
          <p:nvPr/>
        </p:nvSpPr>
        <p:spPr bwMode="auto">
          <a:xfrm>
            <a:off x="3105001" y="1995835"/>
            <a:ext cx="41275" cy="49212"/>
          </a:xfrm>
          <a:custGeom>
            <a:avLst/>
            <a:gdLst>
              <a:gd name="T0" fmla="*/ 30268 w 30"/>
              <a:gd name="T1" fmla="*/ 3786 h 39"/>
              <a:gd name="T2" fmla="*/ 27517 w 30"/>
              <a:gd name="T3" fmla="*/ 12618 h 39"/>
              <a:gd name="T4" fmla="*/ 30268 w 30"/>
              <a:gd name="T5" fmla="*/ 27761 h 39"/>
              <a:gd name="T6" fmla="*/ 8255 w 30"/>
              <a:gd name="T7" fmla="*/ 32808 h 39"/>
              <a:gd name="T8" fmla="*/ 0 w 30"/>
              <a:gd name="T9" fmla="*/ 25237 h 39"/>
              <a:gd name="T10" fmla="*/ 0 w 30"/>
              <a:gd name="T11" fmla="*/ 12618 h 39"/>
              <a:gd name="T12" fmla="*/ 6879 w 30"/>
              <a:gd name="T13" fmla="*/ 0 h 39"/>
              <a:gd name="T14" fmla="*/ 30268 w 30"/>
              <a:gd name="T15" fmla="*/ 3786 h 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"/>
              <a:gd name="T25" fmla="*/ 0 h 39"/>
              <a:gd name="T26" fmla="*/ 30 w 30"/>
              <a:gd name="T27" fmla="*/ 39 h 3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" h="39">
                <a:moveTo>
                  <a:pt x="30" y="6"/>
                </a:moveTo>
                <a:lnTo>
                  <a:pt x="27" y="15"/>
                </a:lnTo>
                <a:lnTo>
                  <a:pt x="30" y="33"/>
                </a:lnTo>
                <a:lnTo>
                  <a:pt x="9" y="39"/>
                </a:lnTo>
                <a:lnTo>
                  <a:pt x="0" y="30"/>
                </a:lnTo>
                <a:lnTo>
                  <a:pt x="0" y="15"/>
                </a:lnTo>
                <a:lnTo>
                  <a:pt x="6" y="0"/>
                </a:lnTo>
                <a:lnTo>
                  <a:pt x="30" y="6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0" name="Freeform 88"/>
          <p:cNvSpPr>
            <a:spLocks noChangeAspect="1"/>
          </p:cNvSpPr>
          <p:nvPr/>
        </p:nvSpPr>
        <p:spPr bwMode="auto">
          <a:xfrm>
            <a:off x="3038326" y="2030760"/>
            <a:ext cx="38100" cy="25400"/>
          </a:xfrm>
          <a:custGeom>
            <a:avLst/>
            <a:gdLst>
              <a:gd name="T0" fmla="*/ 26811 w 27"/>
              <a:gd name="T1" fmla="*/ 0 h 21"/>
              <a:gd name="T2" fmla="*/ 29633 w 27"/>
              <a:gd name="T3" fmla="*/ 10886 h 21"/>
              <a:gd name="T4" fmla="*/ 8467 w 27"/>
              <a:gd name="T5" fmla="*/ 15724 h 21"/>
              <a:gd name="T6" fmla="*/ 0 w 27"/>
              <a:gd name="T7" fmla="*/ 3629 h 21"/>
              <a:gd name="T8" fmla="*/ 26811 w 27"/>
              <a:gd name="T9" fmla="*/ 0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"/>
              <a:gd name="T16" fmla="*/ 0 h 21"/>
              <a:gd name="T17" fmla="*/ 27 w 27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" h="21">
                <a:moveTo>
                  <a:pt x="24" y="0"/>
                </a:moveTo>
                <a:lnTo>
                  <a:pt x="27" y="15"/>
                </a:lnTo>
                <a:lnTo>
                  <a:pt x="6" y="21"/>
                </a:lnTo>
                <a:lnTo>
                  <a:pt x="0" y="6"/>
                </a:lnTo>
                <a:lnTo>
                  <a:pt x="24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1" name="Freeform 89"/>
          <p:cNvSpPr>
            <a:spLocks noChangeAspect="1"/>
          </p:cNvSpPr>
          <p:nvPr/>
        </p:nvSpPr>
        <p:spPr bwMode="auto">
          <a:xfrm>
            <a:off x="3051026" y="1973610"/>
            <a:ext cx="44450" cy="33337"/>
          </a:xfrm>
          <a:custGeom>
            <a:avLst/>
            <a:gdLst>
              <a:gd name="T0" fmla="*/ 0 w 33"/>
              <a:gd name="T1" fmla="*/ 17951 h 26"/>
              <a:gd name="T2" fmla="*/ 21552 w 33"/>
              <a:gd name="T3" fmla="*/ 25644 h 26"/>
              <a:gd name="T4" fmla="*/ 29633 w 33"/>
              <a:gd name="T5" fmla="*/ 7693 h 26"/>
              <a:gd name="T6" fmla="*/ 16164 w 33"/>
              <a:gd name="T7" fmla="*/ 0 h 26"/>
              <a:gd name="T8" fmla="*/ 8082 w 33"/>
              <a:gd name="T9" fmla="*/ 7693 h 26"/>
              <a:gd name="T10" fmla="*/ 0 w 33"/>
              <a:gd name="T11" fmla="*/ 10258 h 26"/>
              <a:gd name="T12" fmla="*/ 0 w 33"/>
              <a:gd name="T13" fmla="*/ 17951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26"/>
              <a:gd name="T23" fmla="*/ 33 w 33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26">
                <a:moveTo>
                  <a:pt x="0" y="17"/>
                </a:moveTo>
                <a:lnTo>
                  <a:pt x="24" y="26"/>
                </a:lnTo>
                <a:lnTo>
                  <a:pt x="33" y="6"/>
                </a:lnTo>
                <a:lnTo>
                  <a:pt x="18" y="0"/>
                </a:lnTo>
                <a:lnTo>
                  <a:pt x="9" y="6"/>
                </a:lnTo>
                <a:lnTo>
                  <a:pt x="0" y="11"/>
                </a:lnTo>
                <a:lnTo>
                  <a:pt x="0" y="17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2" name="Freeform 90"/>
          <p:cNvSpPr>
            <a:spLocks noChangeAspect="1"/>
          </p:cNvSpPr>
          <p:nvPr/>
        </p:nvSpPr>
        <p:spPr bwMode="auto">
          <a:xfrm>
            <a:off x="3105001" y="1943447"/>
            <a:ext cx="31750" cy="20638"/>
          </a:xfrm>
          <a:custGeom>
            <a:avLst/>
            <a:gdLst>
              <a:gd name="T0" fmla="*/ 0 w 24"/>
              <a:gd name="T1" fmla="*/ 12899 h 16"/>
              <a:gd name="T2" fmla="*/ 15875 w 24"/>
              <a:gd name="T3" fmla="*/ 0 h 16"/>
              <a:gd name="T4" fmla="*/ 21167 w 24"/>
              <a:gd name="T5" fmla="*/ 5160 h 16"/>
              <a:gd name="T6" fmla="*/ 0 w 24"/>
              <a:gd name="T7" fmla="*/ 12899 h 16"/>
              <a:gd name="T8" fmla="*/ 0 60000 65536"/>
              <a:gd name="T9" fmla="*/ 0 60000 65536"/>
              <a:gd name="T10" fmla="*/ 0 60000 65536"/>
              <a:gd name="T11" fmla="*/ 0 60000 65536"/>
              <a:gd name="T12" fmla="*/ 0 w 24"/>
              <a:gd name="T13" fmla="*/ 0 h 16"/>
              <a:gd name="T14" fmla="*/ 24 w 24"/>
              <a:gd name="T15" fmla="*/ 16 h 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4" h="16">
                <a:moveTo>
                  <a:pt x="0" y="16"/>
                </a:moveTo>
                <a:lnTo>
                  <a:pt x="18" y="0"/>
                </a:lnTo>
                <a:lnTo>
                  <a:pt x="24" y="6"/>
                </a:lnTo>
                <a:lnTo>
                  <a:pt x="0" y="16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3" name="Freeform 91"/>
          <p:cNvSpPr>
            <a:spLocks noChangeAspect="1"/>
          </p:cNvSpPr>
          <p:nvPr/>
        </p:nvSpPr>
        <p:spPr bwMode="auto">
          <a:xfrm>
            <a:off x="2982764" y="2041872"/>
            <a:ext cx="25400" cy="23813"/>
          </a:xfrm>
          <a:custGeom>
            <a:avLst/>
            <a:gdLst>
              <a:gd name="T0" fmla="*/ 16933 w 18"/>
              <a:gd name="T1" fmla="*/ 0 h 18"/>
              <a:gd name="T2" fmla="*/ 21167 w 18"/>
              <a:gd name="T3" fmla="*/ 14552 h 18"/>
              <a:gd name="T4" fmla="*/ 0 w 18"/>
              <a:gd name="T5" fmla="*/ 15875 h 18"/>
              <a:gd name="T6" fmla="*/ 16933 w 18"/>
              <a:gd name="T7" fmla="*/ 0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18"/>
              <a:gd name="T14" fmla="*/ 18 w 18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18">
                <a:moveTo>
                  <a:pt x="15" y="0"/>
                </a:moveTo>
                <a:lnTo>
                  <a:pt x="18" y="15"/>
                </a:lnTo>
                <a:lnTo>
                  <a:pt x="0" y="18"/>
                </a:lnTo>
                <a:lnTo>
                  <a:pt x="15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4" name="Freeform 92"/>
          <p:cNvSpPr>
            <a:spLocks noChangeAspect="1"/>
          </p:cNvSpPr>
          <p:nvPr/>
        </p:nvSpPr>
        <p:spPr bwMode="auto">
          <a:xfrm>
            <a:off x="3246289" y="1879947"/>
            <a:ext cx="46037" cy="34925"/>
          </a:xfrm>
          <a:custGeom>
            <a:avLst/>
            <a:gdLst>
              <a:gd name="T0" fmla="*/ 16741 w 33"/>
              <a:gd name="T1" fmla="*/ 0 h 27"/>
              <a:gd name="T2" fmla="*/ 0 w 33"/>
              <a:gd name="T3" fmla="*/ 11642 h 27"/>
              <a:gd name="T4" fmla="*/ 20926 w 33"/>
              <a:gd name="T5" fmla="*/ 24577 h 27"/>
              <a:gd name="T6" fmla="*/ 34877 w 33"/>
              <a:gd name="T7" fmla="*/ 11642 h 27"/>
              <a:gd name="T8" fmla="*/ 16741 w 33"/>
              <a:gd name="T9" fmla="*/ 0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27"/>
              <a:gd name="T17" fmla="*/ 33 w 33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27">
                <a:moveTo>
                  <a:pt x="15" y="0"/>
                </a:moveTo>
                <a:lnTo>
                  <a:pt x="0" y="12"/>
                </a:lnTo>
                <a:lnTo>
                  <a:pt x="21" y="27"/>
                </a:lnTo>
                <a:lnTo>
                  <a:pt x="33" y="12"/>
                </a:lnTo>
                <a:lnTo>
                  <a:pt x="15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5" name="Freeform 93"/>
          <p:cNvSpPr>
            <a:spLocks noChangeAspect="1"/>
          </p:cNvSpPr>
          <p:nvPr/>
        </p:nvSpPr>
        <p:spPr bwMode="auto">
          <a:xfrm>
            <a:off x="3287564" y="1848197"/>
            <a:ext cx="46037" cy="36513"/>
          </a:xfrm>
          <a:custGeom>
            <a:avLst/>
            <a:gdLst>
              <a:gd name="T0" fmla="*/ 0 w 33"/>
              <a:gd name="T1" fmla="*/ 8114 h 27"/>
              <a:gd name="T2" fmla="*/ 16741 w 33"/>
              <a:gd name="T3" fmla="*/ 28399 h 27"/>
              <a:gd name="T4" fmla="*/ 34877 w 33"/>
              <a:gd name="T5" fmla="*/ 16228 h 27"/>
              <a:gd name="T6" fmla="*/ 19531 w 33"/>
              <a:gd name="T7" fmla="*/ 0 h 27"/>
              <a:gd name="T8" fmla="*/ 0 w 33"/>
              <a:gd name="T9" fmla="*/ 8114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27"/>
              <a:gd name="T17" fmla="*/ 33 w 33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27">
                <a:moveTo>
                  <a:pt x="0" y="9"/>
                </a:moveTo>
                <a:lnTo>
                  <a:pt x="15" y="27"/>
                </a:lnTo>
                <a:lnTo>
                  <a:pt x="33" y="15"/>
                </a:lnTo>
                <a:lnTo>
                  <a:pt x="18" y="0"/>
                </a:lnTo>
                <a:lnTo>
                  <a:pt x="0" y="9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6" name="Freeform 94"/>
          <p:cNvSpPr>
            <a:spLocks noChangeAspect="1"/>
          </p:cNvSpPr>
          <p:nvPr/>
        </p:nvSpPr>
        <p:spPr bwMode="auto">
          <a:xfrm>
            <a:off x="3408214" y="1783110"/>
            <a:ext cx="65087" cy="42862"/>
          </a:xfrm>
          <a:custGeom>
            <a:avLst/>
            <a:gdLst>
              <a:gd name="T0" fmla="*/ 20340 w 48"/>
              <a:gd name="T1" fmla="*/ 7793 h 33"/>
              <a:gd name="T2" fmla="*/ 29832 w 48"/>
              <a:gd name="T3" fmla="*/ 12988 h 33"/>
              <a:gd name="T4" fmla="*/ 47459 w 48"/>
              <a:gd name="T5" fmla="*/ 0 h 33"/>
              <a:gd name="T6" fmla="*/ 37967 w 48"/>
              <a:gd name="T7" fmla="*/ 25977 h 33"/>
              <a:gd name="T8" fmla="*/ 20340 w 48"/>
              <a:gd name="T9" fmla="*/ 28575 h 33"/>
              <a:gd name="T10" fmla="*/ 0 w 48"/>
              <a:gd name="T11" fmla="*/ 11690 h 33"/>
              <a:gd name="T12" fmla="*/ 20340 w 48"/>
              <a:gd name="T13" fmla="*/ 7793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8"/>
              <a:gd name="T22" fmla="*/ 0 h 33"/>
              <a:gd name="T23" fmla="*/ 48 w 4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8" h="33">
                <a:moveTo>
                  <a:pt x="21" y="9"/>
                </a:moveTo>
                <a:lnTo>
                  <a:pt x="30" y="15"/>
                </a:lnTo>
                <a:lnTo>
                  <a:pt x="48" y="0"/>
                </a:lnTo>
                <a:lnTo>
                  <a:pt x="39" y="30"/>
                </a:lnTo>
                <a:lnTo>
                  <a:pt x="21" y="33"/>
                </a:lnTo>
                <a:lnTo>
                  <a:pt x="0" y="12"/>
                </a:lnTo>
                <a:lnTo>
                  <a:pt x="21" y="9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7" name="Freeform 95"/>
          <p:cNvSpPr>
            <a:spLocks noChangeAspect="1"/>
          </p:cNvSpPr>
          <p:nvPr/>
        </p:nvSpPr>
        <p:spPr bwMode="auto">
          <a:xfrm>
            <a:off x="3535214" y="1743422"/>
            <a:ext cx="33337" cy="23813"/>
          </a:xfrm>
          <a:custGeom>
            <a:avLst/>
            <a:gdLst>
              <a:gd name="T0" fmla="*/ 12501 w 24"/>
              <a:gd name="T1" fmla="*/ 0 h 18"/>
              <a:gd name="T2" fmla="*/ 22225 w 24"/>
              <a:gd name="T3" fmla="*/ 5292 h 18"/>
              <a:gd name="T4" fmla="*/ 25003 w 24"/>
              <a:gd name="T5" fmla="*/ 15875 h 18"/>
              <a:gd name="T6" fmla="*/ 0 w 24"/>
              <a:gd name="T7" fmla="*/ 15875 h 18"/>
              <a:gd name="T8" fmla="*/ 12501 w 24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18"/>
              <a:gd name="T17" fmla="*/ 24 w 24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18">
                <a:moveTo>
                  <a:pt x="12" y="0"/>
                </a:moveTo>
                <a:lnTo>
                  <a:pt x="21" y="6"/>
                </a:lnTo>
                <a:lnTo>
                  <a:pt x="24" y="18"/>
                </a:lnTo>
                <a:lnTo>
                  <a:pt x="0" y="18"/>
                </a:lnTo>
                <a:lnTo>
                  <a:pt x="12" y="0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8" name="Freeform 96"/>
          <p:cNvSpPr>
            <a:spLocks noChangeAspect="1"/>
          </p:cNvSpPr>
          <p:nvPr/>
        </p:nvSpPr>
        <p:spPr bwMode="auto">
          <a:xfrm>
            <a:off x="2685901" y="2538760"/>
            <a:ext cx="49213" cy="28575"/>
          </a:xfrm>
          <a:custGeom>
            <a:avLst/>
            <a:gdLst>
              <a:gd name="T0" fmla="*/ 34176 w 36"/>
              <a:gd name="T1" fmla="*/ 12246 h 21"/>
              <a:gd name="T2" fmla="*/ 8202 w 36"/>
              <a:gd name="T3" fmla="*/ 0 h 21"/>
              <a:gd name="T4" fmla="*/ 0 w 36"/>
              <a:gd name="T5" fmla="*/ 8164 h 21"/>
              <a:gd name="T6" fmla="*/ 4101 w 36"/>
              <a:gd name="T7" fmla="*/ 20411 h 21"/>
              <a:gd name="T8" fmla="*/ 34176 w 36"/>
              <a:gd name="T9" fmla="*/ 12246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6"/>
              <a:gd name="T16" fmla="*/ 0 h 21"/>
              <a:gd name="T17" fmla="*/ 36 w 36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6" h="21">
                <a:moveTo>
                  <a:pt x="36" y="12"/>
                </a:moveTo>
                <a:lnTo>
                  <a:pt x="9" y="0"/>
                </a:lnTo>
                <a:lnTo>
                  <a:pt x="0" y="9"/>
                </a:lnTo>
                <a:lnTo>
                  <a:pt x="3" y="21"/>
                </a:lnTo>
                <a:lnTo>
                  <a:pt x="36" y="12"/>
                </a:lnTo>
                <a:close/>
              </a:path>
            </a:pathLst>
          </a:custGeom>
          <a:solidFill>
            <a:srgbClr val="66FF66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89" name="Freeform 97"/>
          <p:cNvSpPr>
            <a:spLocks noChangeAspect="1"/>
          </p:cNvSpPr>
          <p:nvPr/>
        </p:nvSpPr>
        <p:spPr bwMode="auto">
          <a:xfrm>
            <a:off x="3071664" y="4204047"/>
            <a:ext cx="484187" cy="204788"/>
          </a:xfrm>
          <a:custGeom>
            <a:avLst/>
            <a:gdLst>
              <a:gd name="T0" fmla="*/ 119671 w 352"/>
              <a:gd name="T1" fmla="*/ 6522 h 157"/>
              <a:gd name="T2" fmla="*/ 132051 w 352"/>
              <a:gd name="T3" fmla="*/ 0 h 157"/>
              <a:gd name="T4" fmla="*/ 145806 w 352"/>
              <a:gd name="T5" fmla="*/ 0 h 157"/>
              <a:gd name="T6" fmla="*/ 152684 w 352"/>
              <a:gd name="T7" fmla="*/ 10435 h 157"/>
              <a:gd name="T8" fmla="*/ 166439 w 352"/>
              <a:gd name="T9" fmla="*/ 2609 h 157"/>
              <a:gd name="T10" fmla="*/ 178819 w 352"/>
              <a:gd name="T11" fmla="*/ 5218 h 157"/>
              <a:gd name="T12" fmla="*/ 198077 w 352"/>
              <a:gd name="T13" fmla="*/ 26088 h 157"/>
              <a:gd name="T14" fmla="*/ 220085 w 352"/>
              <a:gd name="T15" fmla="*/ 33914 h 157"/>
              <a:gd name="T16" fmla="*/ 229714 w 352"/>
              <a:gd name="T17" fmla="*/ 36523 h 157"/>
              <a:gd name="T18" fmla="*/ 240718 w 352"/>
              <a:gd name="T19" fmla="*/ 27392 h 157"/>
              <a:gd name="T20" fmla="*/ 251722 w 352"/>
              <a:gd name="T21" fmla="*/ 23479 h 157"/>
              <a:gd name="T22" fmla="*/ 280608 w 352"/>
              <a:gd name="T23" fmla="*/ 31305 h 157"/>
              <a:gd name="T24" fmla="*/ 320499 w 352"/>
              <a:gd name="T25" fmla="*/ 40436 h 157"/>
              <a:gd name="T26" fmla="*/ 353512 w 352"/>
              <a:gd name="T27" fmla="*/ 48262 h 157"/>
              <a:gd name="T28" fmla="*/ 342507 w 352"/>
              <a:gd name="T29" fmla="*/ 60002 h 157"/>
              <a:gd name="T30" fmla="*/ 320499 w 352"/>
              <a:gd name="T31" fmla="*/ 79567 h 157"/>
              <a:gd name="T32" fmla="*/ 317748 w 352"/>
              <a:gd name="T33" fmla="*/ 87394 h 157"/>
              <a:gd name="T34" fmla="*/ 317748 w 352"/>
              <a:gd name="T35" fmla="*/ 100437 h 157"/>
              <a:gd name="T36" fmla="*/ 303992 w 352"/>
              <a:gd name="T37" fmla="*/ 100437 h 157"/>
              <a:gd name="T38" fmla="*/ 287486 w 352"/>
              <a:gd name="T39" fmla="*/ 90002 h 157"/>
              <a:gd name="T40" fmla="*/ 273731 w 352"/>
              <a:gd name="T41" fmla="*/ 87394 h 157"/>
              <a:gd name="T42" fmla="*/ 233840 w 352"/>
              <a:gd name="T43" fmla="*/ 96524 h 157"/>
              <a:gd name="T44" fmla="*/ 224212 w 352"/>
              <a:gd name="T45" fmla="*/ 104351 h 157"/>
              <a:gd name="T46" fmla="*/ 213207 w 352"/>
              <a:gd name="T47" fmla="*/ 117394 h 157"/>
              <a:gd name="T48" fmla="*/ 192574 w 352"/>
              <a:gd name="T49" fmla="*/ 129134 h 157"/>
              <a:gd name="T50" fmla="*/ 180195 w 352"/>
              <a:gd name="T51" fmla="*/ 129134 h 157"/>
              <a:gd name="T52" fmla="*/ 166439 w 352"/>
              <a:gd name="T53" fmla="*/ 118699 h 157"/>
              <a:gd name="T54" fmla="*/ 155435 w 352"/>
              <a:gd name="T55" fmla="*/ 118699 h 157"/>
              <a:gd name="T56" fmla="*/ 116920 w 352"/>
              <a:gd name="T57" fmla="*/ 136960 h 157"/>
              <a:gd name="T58" fmla="*/ 94912 w 352"/>
              <a:gd name="T59" fmla="*/ 146091 h 157"/>
              <a:gd name="T60" fmla="*/ 82532 w 352"/>
              <a:gd name="T61" fmla="*/ 148700 h 157"/>
              <a:gd name="T62" fmla="*/ 50895 w 352"/>
              <a:gd name="T63" fmla="*/ 146091 h 157"/>
              <a:gd name="T64" fmla="*/ 37139 w 352"/>
              <a:gd name="T65" fmla="*/ 146091 h 157"/>
              <a:gd name="T66" fmla="*/ 27511 w 352"/>
              <a:gd name="T67" fmla="*/ 131743 h 157"/>
              <a:gd name="T68" fmla="*/ 22009 w 352"/>
              <a:gd name="T69" fmla="*/ 127829 h 157"/>
              <a:gd name="T70" fmla="*/ 11004 w 352"/>
              <a:gd name="T71" fmla="*/ 121308 h 157"/>
              <a:gd name="T72" fmla="*/ 6878 w 352"/>
              <a:gd name="T73" fmla="*/ 116090 h 157"/>
              <a:gd name="T74" fmla="*/ 0 w 352"/>
              <a:gd name="T75" fmla="*/ 100437 h 157"/>
              <a:gd name="T76" fmla="*/ 0 w 352"/>
              <a:gd name="T77" fmla="*/ 86089 h 157"/>
              <a:gd name="T78" fmla="*/ 34388 w 352"/>
              <a:gd name="T79" fmla="*/ 71741 h 157"/>
              <a:gd name="T80" fmla="*/ 72903 w 352"/>
              <a:gd name="T81" fmla="*/ 71741 h 157"/>
              <a:gd name="T82" fmla="*/ 94912 w 352"/>
              <a:gd name="T83" fmla="*/ 52175 h 157"/>
              <a:gd name="T84" fmla="*/ 97663 w 352"/>
              <a:gd name="T85" fmla="*/ 16957 h 157"/>
              <a:gd name="T86" fmla="*/ 119671 w 352"/>
              <a:gd name="T87" fmla="*/ 6522 h 15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57"/>
              <a:gd name="T134" fmla="*/ 352 w 352"/>
              <a:gd name="T135" fmla="*/ 157 h 15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0" name="Freeform 98"/>
          <p:cNvSpPr>
            <a:spLocks noChangeAspect="1"/>
          </p:cNvSpPr>
          <p:nvPr/>
        </p:nvSpPr>
        <p:spPr bwMode="auto">
          <a:xfrm>
            <a:off x="2952601" y="4699347"/>
            <a:ext cx="327025" cy="287338"/>
          </a:xfrm>
          <a:custGeom>
            <a:avLst/>
            <a:gdLst>
              <a:gd name="T0" fmla="*/ 219849 w 238"/>
              <a:gd name="T1" fmla="*/ 28604 h 221"/>
              <a:gd name="T2" fmla="*/ 207482 w 238"/>
              <a:gd name="T3" fmla="*/ 28604 h 221"/>
              <a:gd name="T4" fmla="*/ 193742 w 238"/>
              <a:gd name="T5" fmla="*/ 20803 h 221"/>
              <a:gd name="T6" fmla="*/ 177253 w 238"/>
              <a:gd name="T7" fmla="*/ 13002 h 221"/>
              <a:gd name="T8" fmla="*/ 156642 w 238"/>
              <a:gd name="T9" fmla="*/ 23403 h 221"/>
              <a:gd name="T10" fmla="*/ 137405 w 238"/>
              <a:gd name="T11" fmla="*/ 16902 h 221"/>
              <a:gd name="T12" fmla="*/ 120917 w 238"/>
              <a:gd name="T13" fmla="*/ 26003 h 221"/>
              <a:gd name="T14" fmla="*/ 119543 w 238"/>
              <a:gd name="T15" fmla="*/ 16902 h 221"/>
              <a:gd name="T16" fmla="*/ 104428 w 238"/>
              <a:gd name="T17" fmla="*/ 16902 h 221"/>
              <a:gd name="T18" fmla="*/ 86565 w 238"/>
              <a:gd name="T19" fmla="*/ 0 h 221"/>
              <a:gd name="T20" fmla="*/ 60458 w 238"/>
              <a:gd name="T21" fmla="*/ 28604 h 221"/>
              <a:gd name="T22" fmla="*/ 16489 w 238"/>
              <a:gd name="T23" fmla="*/ 15602 h 221"/>
              <a:gd name="T24" fmla="*/ 0 w 238"/>
              <a:gd name="T25" fmla="*/ 19503 h 221"/>
              <a:gd name="T26" fmla="*/ 0 w 238"/>
              <a:gd name="T27" fmla="*/ 28604 h 221"/>
              <a:gd name="T28" fmla="*/ 45344 w 238"/>
              <a:gd name="T29" fmla="*/ 72810 h 221"/>
              <a:gd name="T30" fmla="*/ 56336 w 238"/>
              <a:gd name="T31" fmla="*/ 102714 h 221"/>
              <a:gd name="T32" fmla="*/ 81069 w 238"/>
              <a:gd name="T33" fmla="*/ 118316 h 221"/>
              <a:gd name="T34" fmla="*/ 92062 w 238"/>
              <a:gd name="T35" fmla="*/ 115715 h 221"/>
              <a:gd name="T36" fmla="*/ 149772 w 238"/>
              <a:gd name="T37" fmla="*/ 175523 h 221"/>
              <a:gd name="T38" fmla="*/ 152520 w 238"/>
              <a:gd name="T39" fmla="*/ 187225 h 221"/>
              <a:gd name="T40" fmla="*/ 149772 w 238"/>
              <a:gd name="T41" fmla="*/ 196326 h 221"/>
              <a:gd name="T42" fmla="*/ 152520 w 238"/>
              <a:gd name="T43" fmla="*/ 206727 h 221"/>
              <a:gd name="T44" fmla="*/ 170383 w 238"/>
              <a:gd name="T45" fmla="*/ 197626 h 221"/>
              <a:gd name="T46" fmla="*/ 182749 w 238"/>
              <a:gd name="T47" fmla="*/ 193726 h 221"/>
              <a:gd name="T48" fmla="*/ 182749 w 238"/>
              <a:gd name="T49" fmla="*/ 174223 h 221"/>
              <a:gd name="T50" fmla="*/ 201986 w 238"/>
              <a:gd name="T51" fmla="*/ 161221 h 221"/>
              <a:gd name="T52" fmla="*/ 207482 w 238"/>
              <a:gd name="T53" fmla="*/ 146919 h 221"/>
              <a:gd name="T54" fmla="*/ 226719 w 238"/>
              <a:gd name="T55" fmla="*/ 140419 h 221"/>
              <a:gd name="T56" fmla="*/ 228093 w 238"/>
              <a:gd name="T57" fmla="*/ 123516 h 221"/>
              <a:gd name="T58" fmla="*/ 226719 w 238"/>
              <a:gd name="T59" fmla="*/ 106614 h 221"/>
              <a:gd name="T60" fmla="*/ 234963 w 238"/>
              <a:gd name="T61" fmla="*/ 101413 h 221"/>
              <a:gd name="T62" fmla="*/ 218475 w 238"/>
              <a:gd name="T63" fmla="*/ 79310 h 221"/>
              <a:gd name="T64" fmla="*/ 237711 w 238"/>
              <a:gd name="T65" fmla="*/ 49407 h 221"/>
              <a:gd name="T66" fmla="*/ 219849 w 238"/>
              <a:gd name="T67" fmla="*/ 28604 h 2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38"/>
              <a:gd name="T103" fmla="*/ 0 h 221"/>
              <a:gd name="T104" fmla="*/ 238 w 238"/>
              <a:gd name="T105" fmla="*/ 221 h 22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38" h="221">
                <a:moveTo>
                  <a:pt x="220" y="31"/>
                </a:moveTo>
                <a:lnTo>
                  <a:pt x="208" y="31"/>
                </a:lnTo>
                <a:lnTo>
                  <a:pt x="195" y="22"/>
                </a:lnTo>
                <a:lnTo>
                  <a:pt x="178" y="13"/>
                </a:lnTo>
                <a:lnTo>
                  <a:pt x="157" y="24"/>
                </a:lnTo>
                <a:lnTo>
                  <a:pt x="138" y="19"/>
                </a:lnTo>
                <a:lnTo>
                  <a:pt x="121" y="27"/>
                </a:lnTo>
                <a:lnTo>
                  <a:pt x="120" y="19"/>
                </a:lnTo>
                <a:lnTo>
                  <a:pt x="105" y="18"/>
                </a:lnTo>
                <a:lnTo>
                  <a:pt x="87" y="0"/>
                </a:lnTo>
                <a:lnTo>
                  <a:pt x="60" y="30"/>
                </a:lnTo>
                <a:lnTo>
                  <a:pt x="17" y="16"/>
                </a:lnTo>
                <a:lnTo>
                  <a:pt x="0" y="21"/>
                </a:lnTo>
                <a:lnTo>
                  <a:pt x="0" y="31"/>
                </a:lnTo>
                <a:lnTo>
                  <a:pt x="46" y="78"/>
                </a:lnTo>
                <a:lnTo>
                  <a:pt x="57" y="109"/>
                </a:lnTo>
                <a:lnTo>
                  <a:pt x="81" y="127"/>
                </a:lnTo>
                <a:lnTo>
                  <a:pt x="91" y="124"/>
                </a:lnTo>
                <a:lnTo>
                  <a:pt x="150" y="187"/>
                </a:lnTo>
                <a:lnTo>
                  <a:pt x="154" y="201"/>
                </a:lnTo>
                <a:lnTo>
                  <a:pt x="150" y="211"/>
                </a:lnTo>
                <a:lnTo>
                  <a:pt x="154" y="221"/>
                </a:lnTo>
                <a:lnTo>
                  <a:pt x="171" y="212"/>
                </a:lnTo>
                <a:lnTo>
                  <a:pt x="184" y="207"/>
                </a:lnTo>
                <a:lnTo>
                  <a:pt x="184" y="186"/>
                </a:lnTo>
                <a:lnTo>
                  <a:pt x="201" y="172"/>
                </a:lnTo>
                <a:lnTo>
                  <a:pt x="208" y="157"/>
                </a:lnTo>
                <a:lnTo>
                  <a:pt x="226" y="150"/>
                </a:lnTo>
                <a:lnTo>
                  <a:pt x="229" y="132"/>
                </a:lnTo>
                <a:lnTo>
                  <a:pt x="226" y="115"/>
                </a:lnTo>
                <a:lnTo>
                  <a:pt x="235" y="108"/>
                </a:lnTo>
                <a:lnTo>
                  <a:pt x="219" y="85"/>
                </a:lnTo>
                <a:lnTo>
                  <a:pt x="238" y="52"/>
                </a:lnTo>
                <a:lnTo>
                  <a:pt x="220" y="31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1" name="Freeform 99"/>
          <p:cNvSpPr>
            <a:spLocks noChangeAspect="1"/>
          </p:cNvSpPr>
          <p:nvPr/>
        </p:nvSpPr>
        <p:spPr bwMode="auto">
          <a:xfrm>
            <a:off x="3398689" y="5072410"/>
            <a:ext cx="223837" cy="142875"/>
          </a:xfrm>
          <a:custGeom>
            <a:avLst/>
            <a:gdLst>
              <a:gd name="T0" fmla="*/ 6909 w 162"/>
              <a:gd name="T1" fmla="*/ 31173 h 110"/>
              <a:gd name="T2" fmla="*/ 34543 w 162"/>
              <a:gd name="T3" fmla="*/ 14288 h 110"/>
              <a:gd name="T4" fmla="*/ 52505 w 162"/>
              <a:gd name="T5" fmla="*/ 10391 h 110"/>
              <a:gd name="T6" fmla="*/ 70467 w 162"/>
              <a:gd name="T7" fmla="*/ 6494 h 110"/>
              <a:gd name="T8" fmla="*/ 85666 w 162"/>
              <a:gd name="T9" fmla="*/ 6494 h 110"/>
              <a:gd name="T10" fmla="*/ 100865 w 162"/>
              <a:gd name="T11" fmla="*/ 0 h 110"/>
              <a:gd name="T12" fmla="*/ 128499 w 162"/>
              <a:gd name="T13" fmla="*/ 6494 h 110"/>
              <a:gd name="T14" fmla="*/ 142316 w 162"/>
              <a:gd name="T15" fmla="*/ 6494 h 110"/>
              <a:gd name="T16" fmla="*/ 157515 w 162"/>
              <a:gd name="T17" fmla="*/ 18184 h 110"/>
              <a:gd name="T18" fmla="*/ 156133 w 162"/>
              <a:gd name="T19" fmla="*/ 59748 h 110"/>
              <a:gd name="T20" fmla="*/ 164423 w 162"/>
              <a:gd name="T21" fmla="*/ 64943 h 110"/>
              <a:gd name="T22" fmla="*/ 153370 w 162"/>
              <a:gd name="T23" fmla="*/ 80530 h 110"/>
              <a:gd name="T24" fmla="*/ 117445 w 162"/>
              <a:gd name="T25" fmla="*/ 88323 h 110"/>
              <a:gd name="T26" fmla="*/ 100865 w 162"/>
              <a:gd name="T27" fmla="*/ 84426 h 110"/>
              <a:gd name="T28" fmla="*/ 91193 w 162"/>
              <a:gd name="T29" fmla="*/ 103909 h 110"/>
              <a:gd name="T30" fmla="*/ 63559 w 162"/>
              <a:gd name="T31" fmla="*/ 101311 h 110"/>
              <a:gd name="T32" fmla="*/ 52505 w 162"/>
              <a:gd name="T33" fmla="*/ 100013 h 110"/>
              <a:gd name="T34" fmla="*/ 35924 w 162"/>
              <a:gd name="T35" fmla="*/ 100013 h 110"/>
              <a:gd name="T36" fmla="*/ 27634 w 162"/>
              <a:gd name="T37" fmla="*/ 89622 h 110"/>
              <a:gd name="T38" fmla="*/ 20726 w 162"/>
              <a:gd name="T39" fmla="*/ 92219 h 110"/>
              <a:gd name="T40" fmla="*/ 8290 w 162"/>
              <a:gd name="T41" fmla="*/ 84426 h 110"/>
              <a:gd name="T42" fmla="*/ 0 w 162"/>
              <a:gd name="T43" fmla="*/ 59748 h 110"/>
              <a:gd name="T44" fmla="*/ 6909 w 162"/>
              <a:gd name="T45" fmla="*/ 48058 h 110"/>
              <a:gd name="T46" fmla="*/ 6909 w 162"/>
              <a:gd name="T47" fmla="*/ 31173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2"/>
              <a:gd name="T73" fmla="*/ 0 h 110"/>
              <a:gd name="T74" fmla="*/ 162 w 162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2" h="110">
                <a:moveTo>
                  <a:pt x="6" y="33"/>
                </a:moveTo>
                <a:lnTo>
                  <a:pt x="34" y="14"/>
                </a:lnTo>
                <a:lnTo>
                  <a:pt x="52" y="11"/>
                </a:lnTo>
                <a:lnTo>
                  <a:pt x="70" y="6"/>
                </a:lnTo>
                <a:lnTo>
                  <a:pt x="85" y="6"/>
                </a:lnTo>
                <a:lnTo>
                  <a:pt x="100" y="0"/>
                </a:lnTo>
                <a:lnTo>
                  <a:pt x="126" y="6"/>
                </a:lnTo>
                <a:lnTo>
                  <a:pt x="141" y="5"/>
                </a:lnTo>
                <a:lnTo>
                  <a:pt x="156" y="20"/>
                </a:lnTo>
                <a:lnTo>
                  <a:pt x="154" y="63"/>
                </a:lnTo>
                <a:lnTo>
                  <a:pt x="162" y="68"/>
                </a:lnTo>
                <a:lnTo>
                  <a:pt x="151" y="86"/>
                </a:lnTo>
                <a:lnTo>
                  <a:pt x="115" y="93"/>
                </a:lnTo>
                <a:lnTo>
                  <a:pt x="100" y="89"/>
                </a:lnTo>
                <a:lnTo>
                  <a:pt x="90" y="110"/>
                </a:lnTo>
                <a:lnTo>
                  <a:pt x="63" y="108"/>
                </a:lnTo>
                <a:lnTo>
                  <a:pt x="52" y="105"/>
                </a:lnTo>
                <a:lnTo>
                  <a:pt x="36" y="104"/>
                </a:lnTo>
                <a:lnTo>
                  <a:pt x="27" y="95"/>
                </a:lnTo>
                <a:lnTo>
                  <a:pt x="21" y="98"/>
                </a:lnTo>
                <a:lnTo>
                  <a:pt x="9" y="89"/>
                </a:lnTo>
                <a:lnTo>
                  <a:pt x="0" y="63"/>
                </a:lnTo>
                <a:lnTo>
                  <a:pt x="7" y="50"/>
                </a:lnTo>
                <a:lnTo>
                  <a:pt x="6" y="33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2" name="Freeform 100"/>
          <p:cNvSpPr>
            <a:spLocks noChangeAspect="1"/>
          </p:cNvSpPr>
          <p:nvPr/>
        </p:nvSpPr>
        <p:spPr bwMode="auto">
          <a:xfrm>
            <a:off x="3160564" y="4610447"/>
            <a:ext cx="449262" cy="503238"/>
          </a:xfrm>
          <a:custGeom>
            <a:avLst/>
            <a:gdLst>
              <a:gd name="T0" fmla="*/ 119528 w 327"/>
              <a:gd name="T1" fmla="*/ 3891 h 388"/>
              <a:gd name="T2" fmla="*/ 167615 w 327"/>
              <a:gd name="T3" fmla="*/ 1297 h 388"/>
              <a:gd name="T4" fmla="*/ 179980 w 327"/>
              <a:gd name="T5" fmla="*/ 11673 h 388"/>
              <a:gd name="T6" fmla="*/ 186849 w 327"/>
              <a:gd name="T7" fmla="*/ 19455 h 388"/>
              <a:gd name="T8" fmla="*/ 195092 w 327"/>
              <a:gd name="T9" fmla="*/ 54474 h 388"/>
              <a:gd name="T10" fmla="*/ 222570 w 327"/>
              <a:gd name="T11" fmla="*/ 62256 h 388"/>
              <a:gd name="T12" fmla="*/ 234935 w 327"/>
              <a:gd name="T13" fmla="*/ 110245 h 388"/>
              <a:gd name="T14" fmla="*/ 251422 w 327"/>
              <a:gd name="T15" fmla="*/ 123215 h 388"/>
              <a:gd name="T16" fmla="*/ 281647 w 327"/>
              <a:gd name="T17" fmla="*/ 118027 h 388"/>
              <a:gd name="T18" fmla="*/ 302256 w 327"/>
              <a:gd name="T19" fmla="*/ 146562 h 388"/>
              <a:gd name="T20" fmla="*/ 300882 w 327"/>
              <a:gd name="T21" fmla="*/ 167314 h 388"/>
              <a:gd name="T22" fmla="*/ 296760 w 327"/>
              <a:gd name="T23" fmla="*/ 180284 h 388"/>
              <a:gd name="T24" fmla="*/ 305004 w 327"/>
              <a:gd name="T25" fmla="*/ 214006 h 388"/>
              <a:gd name="T26" fmla="*/ 325612 w 327"/>
              <a:gd name="T27" fmla="*/ 228273 h 388"/>
              <a:gd name="T28" fmla="*/ 298134 w 327"/>
              <a:gd name="T29" fmla="*/ 271074 h 388"/>
              <a:gd name="T30" fmla="*/ 294012 w 327"/>
              <a:gd name="T31" fmla="*/ 321657 h 388"/>
              <a:gd name="T32" fmla="*/ 270656 w 327"/>
              <a:gd name="T33" fmla="*/ 333330 h 388"/>
              <a:gd name="T34" fmla="*/ 240431 w 327"/>
              <a:gd name="T35" fmla="*/ 338518 h 388"/>
              <a:gd name="T36" fmla="*/ 203336 w 327"/>
              <a:gd name="T37" fmla="*/ 346300 h 388"/>
              <a:gd name="T38" fmla="*/ 177232 w 327"/>
              <a:gd name="T39" fmla="*/ 330736 h 388"/>
              <a:gd name="T40" fmla="*/ 152502 w 327"/>
              <a:gd name="T41" fmla="*/ 319063 h 388"/>
              <a:gd name="T42" fmla="*/ 134641 w 327"/>
              <a:gd name="T43" fmla="*/ 303499 h 388"/>
              <a:gd name="T44" fmla="*/ 104416 w 327"/>
              <a:gd name="T45" fmla="*/ 303499 h 388"/>
              <a:gd name="T46" fmla="*/ 92051 w 327"/>
              <a:gd name="T47" fmla="*/ 335924 h 388"/>
              <a:gd name="T48" fmla="*/ 13739 w 327"/>
              <a:gd name="T49" fmla="*/ 299608 h 388"/>
              <a:gd name="T50" fmla="*/ 17861 w 327"/>
              <a:gd name="T51" fmla="*/ 265886 h 388"/>
              <a:gd name="T52" fmla="*/ 32973 w 327"/>
              <a:gd name="T53" fmla="*/ 237352 h 388"/>
              <a:gd name="T54" fmla="*/ 54956 w 327"/>
              <a:gd name="T55" fmla="*/ 212709 h 388"/>
              <a:gd name="T56" fmla="*/ 74190 w 327"/>
              <a:gd name="T57" fmla="*/ 188066 h 388"/>
              <a:gd name="T58" fmla="*/ 83807 w 327"/>
              <a:gd name="T59" fmla="*/ 166017 h 388"/>
              <a:gd name="T60" fmla="*/ 83807 w 327"/>
              <a:gd name="T61" fmla="*/ 115433 h 388"/>
              <a:gd name="T62" fmla="*/ 71442 w 327"/>
              <a:gd name="T63" fmla="*/ 73929 h 388"/>
              <a:gd name="T64" fmla="*/ 54956 w 327"/>
              <a:gd name="T65" fmla="*/ 25940 h 38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27"/>
              <a:gd name="T100" fmla="*/ 0 h 388"/>
              <a:gd name="T101" fmla="*/ 327 w 327"/>
              <a:gd name="T102" fmla="*/ 388 h 38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27" h="388">
                <a:moveTo>
                  <a:pt x="55" y="27"/>
                </a:moveTo>
                <a:lnTo>
                  <a:pt x="120" y="3"/>
                </a:lnTo>
                <a:lnTo>
                  <a:pt x="150" y="0"/>
                </a:lnTo>
                <a:lnTo>
                  <a:pt x="168" y="1"/>
                </a:lnTo>
                <a:lnTo>
                  <a:pt x="175" y="6"/>
                </a:lnTo>
                <a:lnTo>
                  <a:pt x="180" y="12"/>
                </a:lnTo>
                <a:lnTo>
                  <a:pt x="181" y="19"/>
                </a:lnTo>
                <a:lnTo>
                  <a:pt x="187" y="21"/>
                </a:lnTo>
                <a:lnTo>
                  <a:pt x="195" y="36"/>
                </a:lnTo>
                <a:lnTo>
                  <a:pt x="196" y="58"/>
                </a:lnTo>
                <a:lnTo>
                  <a:pt x="204" y="66"/>
                </a:lnTo>
                <a:lnTo>
                  <a:pt x="223" y="66"/>
                </a:lnTo>
                <a:lnTo>
                  <a:pt x="235" y="97"/>
                </a:lnTo>
                <a:lnTo>
                  <a:pt x="235" y="118"/>
                </a:lnTo>
                <a:lnTo>
                  <a:pt x="243" y="132"/>
                </a:lnTo>
                <a:lnTo>
                  <a:pt x="252" y="132"/>
                </a:lnTo>
                <a:lnTo>
                  <a:pt x="271" y="118"/>
                </a:lnTo>
                <a:lnTo>
                  <a:pt x="282" y="127"/>
                </a:lnTo>
                <a:lnTo>
                  <a:pt x="283" y="145"/>
                </a:lnTo>
                <a:lnTo>
                  <a:pt x="303" y="156"/>
                </a:lnTo>
                <a:lnTo>
                  <a:pt x="300" y="175"/>
                </a:lnTo>
                <a:lnTo>
                  <a:pt x="301" y="180"/>
                </a:lnTo>
                <a:lnTo>
                  <a:pt x="304" y="183"/>
                </a:lnTo>
                <a:lnTo>
                  <a:pt x="297" y="193"/>
                </a:lnTo>
                <a:lnTo>
                  <a:pt x="295" y="205"/>
                </a:lnTo>
                <a:lnTo>
                  <a:pt x="306" y="229"/>
                </a:lnTo>
                <a:lnTo>
                  <a:pt x="322" y="232"/>
                </a:lnTo>
                <a:lnTo>
                  <a:pt x="327" y="244"/>
                </a:lnTo>
                <a:lnTo>
                  <a:pt x="322" y="268"/>
                </a:lnTo>
                <a:lnTo>
                  <a:pt x="298" y="290"/>
                </a:lnTo>
                <a:lnTo>
                  <a:pt x="304" y="328"/>
                </a:lnTo>
                <a:lnTo>
                  <a:pt x="295" y="344"/>
                </a:lnTo>
                <a:lnTo>
                  <a:pt x="301" y="362"/>
                </a:lnTo>
                <a:lnTo>
                  <a:pt x="271" y="356"/>
                </a:lnTo>
                <a:lnTo>
                  <a:pt x="256" y="362"/>
                </a:lnTo>
                <a:lnTo>
                  <a:pt x="241" y="362"/>
                </a:lnTo>
                <a:lnTo>
                  <a:pt x="223" y="367"/>
                </a:lnTo>
                <a:lnTo>
                  <a:pt x="205" y="370"/>
                </a:lnTo>
                <a:lnTo>
                  <a:pt x="177" y="388"/>
                </a:lnTo>
                <a:lnTo>
                  <a:pt x="178" y="353"/>
                </a:lnTo>
                <a:lnTo>
                  <a:pt x="172" y="344"/>
                </a:lnTo>
                <a:lnTo>
                  <a:pt x="153" y="341"/>
                </a:lnTo>
                <a:lnTo>
                  <a:pt x="147" y="326"/>
                </a:lnTo>
                <a:lnTo>
                  <a:pt x="135" y="325"/>
                </a:lnTo>
                <a:lnTo>
                  <a:pt x="130" y="329"/>
                </a:lnTo>
                <a:lnTo>
                  <a:pt x="105" y="325"/>
                </a:lnTo>
                <a:lnTo>
                  <a:pt x="96" y="332"/>
                </a:lnTo>
                <a:lnTo>
                  <a:pt x="91" y="359"/>
                </a:lnTo>
                <a:lnTo>
                  <a:pt x="81" y="380"/>
                </a:lnTo>
                <a:lnTo>
                  <a:pt x="13" y="320"/>
                </a:lnTo>
                <a:lnTo>
                  <a:pt x="0" y="292"/>
                </a:lnTo>
                <a:lnTo>
                  <a:pt x="18" y="284"/>
                </a:lnTo>
                <a:lnTo>
                  <a:pt x="33" y="276"/>
                </a:lnTo>
                <a:lnTo>
                  <a:pt x="33" y="253"/>
                </a:lnTo>
                <a:lnTo>
                  <a:pt x="48" y="244"/>
                </a:lnTo>
                <a:lnTo>
                  <a:pt x="55" y="228"/>
                </a:lnTo>
                <a:lnTo>
                  <a:pt x="72" y="217"/>
                </a:lnTo>
                <a:lnTo>
                  <a:pt x="75" y="202"/>
                </a:lnTo>
                <a:lnTo>
                  <a:pt x="73" y="186"/>
                </a:lnTo>
                <a:lnTo>
                  <a:pt x="84" y="177"/>
                </a:lnTo>
                <a:lnTo>
                  <a:pt x="69" y="154"/>
                </a:lnTo>
                <a:lnTo>
                  <a:pt x="85" y="123"/>
                </a:lnTo>
                <a:lnTo>
                  <a:pt x="67" y="102"/>
                </a:lnTo>
                <a:lnTo>
                  <a:pt x="72" y="79"/>
                </a:lnTo>
                <a:lnTo>
                  <a:pt x="55" y="58"/>
                </a:lnTo>
                <a:lnTo>
                  <a:pt x="55" y="27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3" name="Freeform 101"/>
          <p:cNvSpPr>
            <a:spLocks noChangeAspect="1"/>
          </p:cNvSpPr>
          <p:nvPr/>
        </p:nvSpPr>
        <p:spPr bwMode="auto">
          <a:xfrm>
            <a:off x="4430564" y="4350097"/>
            <a:ext cx="368300" cy="311150"/>
          </a:xfrm>
          <a:custGeom>
            <a:avLst/>
            <a:gdLst>
              <a:gd name="T0" fmla="*/ 267979 w 268"/>
              <a:gd name="T1" fmla="*/ 0 h 241"/>
              <a:gd name="T2" fmla="*/ 195144 w 268"/>
              <a:gd name="T3" fmla="*/ 16784 h 241"/>
              <a:gd name="T4" fmla="*/ 147045 w 268"/>
              <a:gd name="T5" fmla="*/ 47770 h 241"/>
              <a:gd name="T6" fmla="*/ 78332 w 268"/>
              <a:gd name="T7" fmla="*/ 71009 h 241"/>
              <a:gd name="T8" fmla="*/ 57719 w 268"/>
              <a:gd name="T9" fmla="*/ 92958 h 241"/>
              <a:gd name="T10" fmla="*/ 27485 w 268"/>
              <a:gd name="T11" fmla="*/ 100704 h 241"/>
              <a:gd name="T12" fmla="*/ 0 w 268"/>
              <a:gd name="T13" fmla="*/ 101995 h 241"/>
              <a:gd name="T14" fmla="*/ 17865 w 268"/>
              <a:gd name="T15" fmla="*/ 121361 h 241"/>
              <a:gd name="T16" fmla="*/ 42602 w 268"/>
              <a:gd name="T17" fmla="*/ 122652 h 241"/>
              <a:gd name="T18" fmla="*/ 57719 w 268"/>
              <a:gd name="T19" fmla="*/ 131690 h 241"/>
              <a:gd name="T20" fmla="*/ 83829 w 268"/>
              <a:gd name="T21" fmla="*/ 156221 h 241"/>
              <a:gd name="T22" fmla="*/ 90701 w 268"/>
              <a:gd name="T23" fmla="*/ 178169 h 241"/>
              <a:gd name="T24" fmla="*/ 104443 w 268"/>
              <a:gd name="T25" fmla="*/ 184624 h 241"/>
              <a:gd name="T26" fmla="*/ 120934 w 268"/>
              <a:gd name="T27" fmla="*/ 185915 h 241"/>
              <a:gd name="T28" fmla="*/ 134677 w 268"/>
              <a:gd name="T29" fmla="*/ 175587 h 241"/>
              <a:gd name="T30" fmla="*/ 141548 w 268"/>
              <a:gd name="T31" fmla="*/ 184624 h 241"/>
              <a:gd name="T32" fmla="*/ 156665 w 268"/>
              <a:gd name="T33" fmla="*/ 175587 h 241"/>
              <a:gd name="T34" fmla="*/ 181401 w 268"/>
              <a:gd name="T35" fmla="*/ 175587 h 241"/>
              <a:gd name="T36" fmla="*/ 166285 w 268"/>
              <a:gd name="T37" fmla="*/ 205282 h 241"/>
              <a:gd name="T38" fmla="*/ 142922 w 268"/>
              <a:gd name="T39" fmla="*/ 214319 h 241"/>
              <a:gd name="T40" fmla="*/ 129180 w 268"/>
              <a:gd name="T41" fmla="*/ 213028 h 241"/>
              <a:gd name="T42" fmla="*/ 104443 w 268"/>
              <a:gd name="T43" fmla="*/ 203990 h 241"/>
              <a:gd name="T44" fmla="*/ 98946 w 268"/>
              <a:gd name="T45" fmla="*/ 220775 h 24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68"/>
              <a:gd name="T70" fmla="*/ 0 h 241"/>
              <a:gd name="T71" fmla="*/ 268 w 268"/>
              <a:gd name="T72" fmla="*/ 241 h 24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68" h="241">
                <a:moveTo>
                  <a:pt x="268" y="0"/>
                </a:moveTo>
                <a:lnTo>
                  <a:pt x="196" y="19"/>
                </a:lnTo>
                <a:lnTo>
                  <a:pt x="147" y="52"/>
                </a:lnTo>
                <a:lnTo>
                  <a:pt x="78" y="79"/>
                </a:lnTo>
                <a:lnTo>
                  <a:pt x="58" y="102"/>
                </a:lnTo>
                <a:lnTo>
                  <a:pt x="28" y="109"/>
                </a:lnTo>
                <a:lnTo>
                  <a:pt x="0" y="112"/>
                </a:lnTo>
                <a:lnTo>
                  <a:pt x="19" y="132"/>
                </a:lnTo>
                <a:lnTo>
                  <a:pt x="43" y="135"/>
                </a:lnTo>
                <a:lnTo>
                  <a:pt x="58" y="144"/>
                </a:lnTo>
                <a:lnTo>
                  <a:pt x="85" y="171"/>
                </a:lnTo>
                <a:lnTo>
                  <a:pt x="90" y="195"/>
                </a:lnTo>
                <a:lnTo>
                  <a:pt x="103" y="201"/>
                </a:lnTo>
                <a:lnTo>
                  <a:pt x="121" y="202"/>
                </a:lnTo>
                <a:lnTo>
                  <a:pt x="135" y="190"/>
                </a:lnTo>
                <a:lnTo>
                  <a:pt x="142" y="201"/>
                </a:lnTo>
                <a:lnTo>
                  <a:pt x="157" y="193"/>
                </a:lnTo>
                <a:lnTo>
                  <a:pt x="181" y="192"/>
                </a:lnTo>
                <a:lnTo>
                  <a:pt x="166" y="223"/>
                </a:lnTo>
                <a:lnTo>
                  <a:pt x="144" y="234"/>
                </a:lnTo>
                <a:lnTo>
                  <a:pt x="129" y="232"/>
                </a:lnTo>
                <a:lnTo>
                  <a:pt x="106" y="222"/>
                </a:lnTo>
                <a:lnTo>
                  <a:pt x="99" y="241"/>
                </a:lnTo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4" name="Freeform 102"/>
          <p:cNvSpPr>
            <a:spLocks noChangeAspect="1"/>
          </p:cNvSpPr>
          <p:nvPr/>
        </p:nvSpPr>
        <p:spPr bwMode="auto">
          <a:xfrm>
            <a:off x="3884464" y="4334222"/>
            <a:ext cx="309562" cy="322263"/>
          </a:xfrm>
          <a:custGeom>
            <a:avLst/>
            <a:gdLst>
              <a:gd name="T0" fmla="*/ 121073 w 225"/>
              <a:gd name="T1" fmla="*/ 231667 h 249"/>
              <a:gd name="T2" fmla="*/ 108691 w 225"/>
              <a:gd name="T3" fmla="*/ 217430 h 249"/>
              <a:gd name="T4" fmla="*/ 107315 w 225"/>
              <a:gd name="T5" fmla="*/ 187663 h 249"/>
              <a:gd name="T6" fmla="*/ 92181 w 225"/>
              <a:gd name="T7" fmla="*/ 164367 h 249"/>
              <a:gd name="T8" fmla="*/ 90805 w 225"/>
              <a:gd name="T9" fmla="*/ 146248 h 249"/>
              <a:gd name="T10" fmla="*/ 94932 w 225"/>
              <a:gd name="T11" fmla="*/ 132011 h 249"/>
              <a:gd name="T12" fmla="*/ 82550 w 225"/>
              <a:gd name="T13" fmla="*/ 111304 h 249"/>
              <a:gd name="T14" fmla="*/ 67416 w 225"/>
              <a:gd name="T15" fmla="*/ 94479 h 249"/>
              <a:gd name="T16" fmla="*/ 61912 w 225"/>
              <a:gd name="T17" fmla="*/ 78948 h 249"/>
              <a:gd name="T18" fmla="*/ 57785 w 225"/>
              <a:gd name="T19" fmla="*/ 67300 h 249"/>
              <a:gd name="T20" fmla="*/ 39899 w 225"/>
              <a:gd name="T21" fmla="*/ 56946 h 249"/>
              <a:gd name="T22" fmla="*/ 30268 w 225"/>
              <a:gd name="T23" fmla="*/ 41415 h 249"/>
              <a:gd name="T24" fmla="*/ 19262 w 225"/>
              <a:gd name="T25" fmla="*/ 24590 h 249"/>
              <a:gd name="T26" fmla="*/ 0 w 225"/>
              <a:gd name="T27" fmla="*/ 14237 h 249"/>
              <a:gd name="T28" fmla="*/ 30268 w 225"/>
              <a:gd name="T29" fmla="*/ 0 h 249"/>
              <a:gd name="T30" fmla="*/ 55033 w 225"/>
              <a:gd name="T31" fmla="*/ 3883 h 249"/>
              <a:gd name="T32" fmla="*/ 70167 w 225"/>
              <a:gd name="T33" fmla="*/ 5177 h 249"/>
              <a:gd name="T34" fmla="*/ 108691 w 225"/>
              <a:gd name="T35" fmla="*/ 31061 h 249"/>
              <a:gd name="T36" fmla="*/ 119697 w 225"/>
              <a:gd name="T37" fmla="*/ 36238 h 249"/>
              <a:gd name="T38" fmla="*/ 145838 w 225"/>
              <a:gd name="T39" fmla="*/ 41415 h 249"/>
              <a:gd name="T40" fmla="*/ 163724 w 225"/>
              <a:gd name="T41" fmla="*/ 64711 h 249"/>
              <a:gd name="T42" fmla="*/ 155469 w 225"/>
              <a:gd name="T43" fmla="*/ 81536 h 249"/>
              <a:gd name="T44" fmla="*/ 166476 w 225"/>
              <a:gd name="T45" fmla="*/ 103538 h 249"/>
              <a:gd name="T46" fmla="*/ 193992 w 225"/>
              <a:gd name="T47" fmla="*/ 120363 h 249"/>
              <a:gd name="T48" fmla="*/ 203623 w 225"/>
              <a:gd name="T49" fmla="*/ 134600 h 249"/>
              <a:gd name="T50" fmla="*/ 221509 w 225"/>
              <a:gd name="T51" fmla="*/ 138482 h 249"/>
              <a:gd name="T52" fmla="*/ 227012 w 225"/>
              <a:gd name="T53" fmla="*/ 139777 h 249"/>
              <a:gd name="T54" fmla="*/ 216006 w 225"/>
              <a:gd name="T55" fmla="*/ 147542 h 249"/>
              <a:gd name="T56" fmla="*/ 188489 w 225"/>
              <a:gd name="T57" fmla="*/ 147542 h 249"/>
              <a:gd name="T58" fmla="*/ 163724 w 225"/>
              <a:gd name="T59" fmla="*/ 146248 h 249"/>
              <a:gd name="T60" fmla="*/ 152717 w 225"/>
              <a:gd name="T61" fmla="*/ 150131 h 249"/>
              <a:gd name="T62" fmla="*/ 155469 w 225"/>
              <a:gd name="T63" fmla="*/ 174721 h 249"/>
              <a:gd name="T64" fmla="*/ 151341 w 225"/>
              <a:gd name="T65" fmla="*/ 194134 h 249"/>
              <a:gd name="T66" fmla="*/ 127952 w 225"/>
              <a:gd name="T67" fmla="*/ 217430 h 249"/>
              <a:gd name="T68" fmla="*/ 121073 w 225"/>
              <a:gd name="T69" fmla="*/ 231667 h 24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25"/>
              <a:gd name="T106" fmla="*/ 0 h 249"/>
              <a:gd name="T107" fmla="*/ 225 w 225"/>
              <a:gd name="T108" fmla="*/ 249 h 24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25" h="249">
                <a:moveTo>
                  <a:pt x="121" y="249"/>
                </a:moveTo>
                <a:lnTo>
                  <a:pt x="108" y="235"/>
                </a:lnTo>
                <a:lnTo>
                  <a:pt x="105" y="202"/>
                </a:lnTo>
                <a:lnTo>
                  <a:pt x="91" y="178"/>
                </a:lnTo>
                <a:lnTo>
                  <a:pt x="90" y="157"/>
                </a:lnTo>
                <a:lnTo>
                  <a:pt x="94" y="142"/>
                </a:lnTo>
                <a:lnTo>
                  <a:pt x="82" y="120"/>
                </a:lnTo>
                <a:lnTo>
                  <a:pt x="67" y="103"/>
                </a:lnTo>
                <a:lnTo>
                  <a:pt x="61" y="85"/>
                </a:lnTo>
                <a:lnTo>
                  <a:pt x="58" y="73"/>
                </a:lnTo>
                <a:lnTo>
                  <a:pt x="40" y="61"/>
                </a:lnTo>
                <a:lnTo>
                  <a:pt x="30" y="45"/>
                </a:lnTo>
                <a:lnTo>
                  <a:pt x="19" y="27"/>
                </a:lnTo>
                <a:lnTo>
                  <a:pt x="0" y="15"/>
                </a:lnTo>
                <a:lnTo>
                  <a:pt x="30" y="0"/>
                </a:lnTo>
                <a:lnTo>
                  <a:pt x="54" y="3"/>
                </a:lnTo>
                <a:lnTo>
                  <a:pt x="69" y="6"/>
                </a:lnTo>
                <a:lnTo>
                  <a:pt x="108" y="34"/>
                </a:lnTo>
                <a:lnTo>
                  <a:pt x="117" y="39"/>
                </a:lnTo>
                <a:lnTo>
                  <a:pt x="145" y="45"/>
                </a:lnTo>
                <a:lnTo>
                  <a:pt x="162" y="69"/>
                </a:lnTo>
                <a:lnTo>
                  <a:pt x="154" y="87"/>
                </a:lnTo>
                <a:lnTo>
                  <a:pt x="165" y="111"/>
                </a:lnTo>
                <a:lnTo>
                  <a:pt x="192" y="129"/>
                </a:lnTo>
                <a:lnTo>
                  <a:pt x="202" y="144"/>
                </a:lnTo>
                <a:lnTo>
                  <a:pt x="219" y="150"/>
                </a:lnTo>
                <a:lnTo>
                  <a:pt x="225" y="151"/>
                </a:lnTo>
                <a:lnTo>
                  <a:pt x="214" y="159"/>
                </a:lnTo>
                <a:lnTo>
                  <a:pt x="186" y="159"/>
                </a:lnTo>
                <a:lnTo>
                  <a:pt x="162" y="157"/>
                </a:lnTo>
                <a:lnTo>
                  <a:pt x="151" y="162"/>
                </a:lnTo>
                <a:lnTo>
                  <a:pt x="154" y="189"/>
                </a:lnTo>
                <a:lnTo>
                  <a:pt x="150" y="210"/>
                </a:lnTo>
                <a:lnTo>
                  <a:pt x="126" y="235"/>
                </a:lnTo>
                <a:lnTo>
                  <a:pt x="121" y="249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5" name="Freeform 103"/>
          <p:cNvSpPr>
            <a:spLocks noChangeAspect="1"/>
          </p:cNvSpPr>
          <p:nvPr/>
        </p:nvSpPr>
        <p:spPr bwMode="auto">
          <a:xfrm>
            <a:off x="3501876" y="3872260"/>
            <a:ext cx="1419225" cy="876300"/>
          </a:xfrm>
          <a:custGeom>
            <a:avLst/>
            <a:gdLst>
              <a:gd name="T0" fmla="*/ 596845 w 1032"/>
              <a:gd name="T1" fmla="*/ 5178 h 677"/>
              <a:gd name="T2" fmla="*/ 680733 w 1032"/>
              <a:gd name="T3" fmla="*/ 33654 h 677"/>
              <a:gd name="T4" fmla="*/ 781124 w 1032"/>
              <a:gd name="T5" fmla="*/ 104845 h 677"/>
              <a:gd name="T6" fmla="*/ 891141 w 1032"/>
              <a:gd name="T7" fmla="*/ 143677 h 677"/>
              <a:gd name="T8" fmla="*/ 1012160 w 1032"/>
              <a:gd name="T9" fmla="*/ 169565 h 677"/>
              <a:gd name="T10" fmla="*/ 999783 w 1032"/>
              <a:gd name="T11" fmla="*/ 297709 h 677"/>
              <a:gd name="T12" fmla="*/ 947525 w 1032"/>
              <a:gd name="T13" fmla="*/ 340424 h 677"/>
              <a:gd name="T14" fmla="*/ 749494 w 1032"/>
              <a:gd name="T15" fmla="*/ 419381 h 677"/>
              <a:gd name="T16" fmla="*/ 695860 w 1032"/>
              <a:gd name="T17" fmla="*/ 467274 h 677"/>
              <a:gd name="T18" fmla="*/ 767372 w 1032"/>
              <a:gd name="T19" fmla="*/ 526815 h 677"/>
              <a:gd name="T20" fmla="*/ 810003 w 1032"/>
              <a:gd name="T21" fmla="*/ 519049 h 677"/>
              <a:gd name="T22" fmla="*/ 855386 w 1032"/>
              <a:gd name="T23" fmla="*/ 520344 h 677"/>
              <a:gd name="T24" fmla="*/ 796251 w 1032"/>
              <a:gd name="T25" fmla="*/ 552703 h 677"/>
              <a:gd name="T26" fmla="*/ 738492 w 1032"/>
              <a:gd name="T27" fmla="*/ 591535 h 677"/>
              <a:gd name="T28" fmla="*/ 683483 w 1032"/>
              <a:gd name="T29" fmla="*/ 621306 h 677"/>
              <a:gd name="T30" fmla="*/ 679358 w 1032"/>
              <a:gd name="T31" fmla="*/ 557881 h 677"/>
              <a:gd name="T32" fmla="*/ 617473 w 1032"/>
              <a:gd name="T33" fmla="*/ 548820 h 677"/>
              <a:gd name="T34" fmla="*/ 640851 w 1032"/>
              <a:gd name="T35" fmla="*/ 491867 h 677"/>
              <a:gd name="T36" fmla="*/ 631225 w 1032"/>
              <a:gd name="T37" fmla="*/ 467274 h 677"/>
              <a:gd name="T38" fmla="*/ 592719 w 1032"/>
              <a:gd name="T39" fmla="*/ 478923 h 677"/>
              <a:gd name="T40" fmla="*/ 589968 w 1032"/>
              <a:gd name="T41" fmla="*/ 449152 h 677"/>
              <a:gd name="T42" fmla="*/ 545961 w 1032"/>
              <a:gd name="T43" fmla="*/ 451741 h 677"/>
              <a:gd name="T44" fmla="*/ 517082 w 1032"/>
              <a:gd name="T45" fmla="*/ 476334 h 677"/>
              <a:gd name="T46" fmla="*/ 514331 w 1032"/>
              <a:gd name="T47" fmla="*/ 519049 h 677"/>
              <a:gd name="T48" fmla="*/ 501955 w 1032"/>
              <a:gd name="T49" fmla="*/ 534582 h 677"/>
              <a:gd name="T50" fmla="*/ 501955 w 1032"/>
              <a:gd name="T51" fmla="*/ 552703 h 677"/>
              <a:gd name="T52" fmla="*/ 455197 w 1032"/>
              <a:gd name="T53" fmla="*/ 557881 h 677"/>
              <a:gd name="T54" fmla="*/ 402939 w 1032"/>
              <a:gd name="T55" fmla="*/ 548820 h 677"/>
              <a:gd name="T56" fmla="*/ 435944 w 1032"/>
              <a:gd name="T57" fmla="*/ 480218 h 677"/>
              <a:gd name="T58" fmla="*/ 501955 w 1032"/>
              <a:gd name="T59" fmla="*/ 469862 h 677"/>
              <a:gd name="T60" fmla="*/ 442820 w 1032"/>
              <a:gd name="T61" fmla="*/ 436208 h 677"/>
              <a:gd name="T62" fmla="*/ 423567 w 1032"/>
              <a:gd name="T63" fmla="*/ 370195 h 677"/>
              <a:gd name="T64" fmla="*/ 309424 w 1032"/>
              <a:gd name="T65" fmla="*/ 332657 h 677"/>
              <a:gd name="T66" fmla="*/ 261291 w 1032"/>
              <a:gd name="T67" fmla="*/ 361134 h 677"/>
              <a:gd name="T68" fmla="*/ 187030 w 1032"/>
              <a:gd name="T69" fmla="*/ 376667 h 677"/>
              <a:gd name="T70" fmla="*/ 136147 w 1032"/>
              <a:gd name="T71" fmla="*/ 370195 h 677"/>
              <a:gd name="T72" fmla="*/ 79763 w 1032"/>
              <a:gd name="T73" fmla="*/ 365017 h 677"/>
              <a:gd name="T74" fmla="*/ 24754 w 1032"/>
              <a:gd name="T75" fmla="*/ 371489 h 677"/>
              <a:gd name="T76" fmla="*/ 49508 w 1032"/>
              <a:gd name="T77" fmla="*/ 279588 h 677"/>
              <a:gd name="T78" fmla="*/ 104517 w 1032"/>
              <a:gd name="T79" fmla="*/ 169565 h 677"/>
              <a:gd name="T80" fmla="*/ 78387 w 1032"/>
              <a:gd name="T81" fmla="*/ 89313 h 677"/>
              <a:gd name="T82" fmla="*/ 103141 w 1032"/>
              <a:gd name="T83" fmla="*/ 64719 h 677"/>
              <a:gd name="T84" fmla="*/ 226911 w 1032"/>
              <a:gd name="T85" fmla="*/ 63425 h 677"/>
              <a:gd name="T86" fmla="*/ 372684 w 1032"/>
              <a:gd name="T87" fmla="*/ 71191 h 677"/>
              <a:gd name="T88" fmla="*/ 459323 w 1032"/>
              <a:gd name="T89" fmla="*/ 72486 h 677"/>
              <a:gd name="T90" fmla="*/ 481326 w 1032"/>
              <a:gd name="T91" fmla="*/ 38832 h 67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32"/>
              <a:gd name="T139" fmla="*/ 0 h 677"/>
              <a:gd name="T140" fmla="*/ 1032 w 1032"/>
              <a:gd name="T141" fmla="*/ 677 h 67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32" h="677">
                <a:moveTo>
                  <a:pt x="537" y="20"/>
                </a:moveTo>
                <a:lnTo>
                  <a:pt x="563" y="16"/>
                </a:lnTo>
                <a:lnTo>
                  <a:pt x="597" y="6"/>
                </a:lnTo>
                <a:lnTo>
                  <a:pt x="631" y="0"/>
                </a:lnTo>
                <a:lnTo>
                  <a:pt x="665" y="6"/>
                </a:lnTo>
                <a:lnTo>
                  <a:pt x="682" y="36"/>
                </a:lnTo>
                <a:lnTo>
                  <a:pt x="706" y="62"/>
                </a:lnTo>
                <a:lnTo>
                  <a:pt x="752" y="86"/>
                </a:lnTo>
                <a:lnTo>
                  <a:pt x="782" y="112"/>
                </a:lnTo>
                <a:lnTo>
                  <a:pt x="808" y="140"/>
                </a:lnTo>
                <a:lnTo>
                  <a:pt x="872" y="140"/>
                </a:lnTo>
                <a:lnTo>
                  <a:pt x="892" y="154"/>
                </a:lnTo>
                <a:lnTo>
                  <a:pt x="928" y="168"/>
                </a:lnTo>
                <a:lnTo>
                  <a:pt x="968" y="170"/>
                </a:lnTo>
                <a:lnTo>
                  <a:pt x="1012" y="182"/>
                </a:lnTo>
                <a:lnTo>
                  <a:pt x="1032" y="234"/>
                </a:lnTo>
                <a:lnTo>
                  <a:pt x="1022" y="293"/>
                </a:lnTo>
                <a:lnTo>
                  <a:pt x="1000" y="321"/>
                </a:lnTo>
                <a:lnTo>
                  <a:pt x="964" y="333"/>
                </a:lnTo>
                <a:lnTo>
                  <a:pt x="952" y="349"/>
                </a:lnTo>
                <a:lnTo>
                  <a:pt x="948" y="367"/>
                </a:lnTo>
                <a:lnTo>
                  <a:pt x="866" y="391"/>
                </a:lnTo>
                <a:lnTo>
                  <a:pt x="820" y="423"/>
                </a:lnTo>
                <a:lnTo>
                  <a:pt x="750" y="451"/>
                </a:lnTo>
                <a:lnTo>
                  <a:pt x="730" y="473"/>
                </a:lnTo>
                <a:lnTo>
                  <a:pt x="676" y="481"/>
                </a:lnTo>
                <a:lnTo>
                  <a:pt x="696" y="503"/>
                </a:lnTo>
                <a:lnTo>
                  <a:pt x="722" y="503"/>
                </a:lnTo>
                <a:lnTo>
                  <a:pt x="762" y="541"/>
                </a:lnTo>
                <a:lnTo>
                  <a:pt x="766" y="567"/>
                </a:lnTo>
                <a:lnTo>
                  <a:pt x="788" y="571"/>
                </a:lnTo>
                <a:lnTo>
                  <a:pt x="800" y="571"/>
                </a:lnTo>
                <a:lnTo>
                  <a:pt x="810" y="559"/>
                </a:lnTo>
                <a:lnTo>
                  <a:pt x="824" y="571"/>
                </a:lnTo>
                <a:lnTo>
                  <a:pt x="838" y="559"/>
                </a:lnTo>
                <a:lnTo>
                  <a:pt x="856" y="561"/>
                </a:lnTo>
                <a:lnTo>
                  <a:pt x="840" y="593"/>
                </a:lnTo>
                <a:lnTo>
                  <a:pt x="820" y="605"/>
                </a:lnTo>
                <a:lnTo>
                  <a:pt x="796" y="595"/>
                </a:lnTo>
                <a:lnTo>
                  <a:pt x="784" y="589"/>
                </a:lnTo>
                <a:lnTo>
                  <a:pt x="778" y="609"/>
                </a:lnTo>
                <a:lnTo>
                  <a:pt x="738" y="637"/>
                </a:lnTo>
                <a:lnTo>
                  <a:pt x="726" y="655"/>
                </a:lnTo>
                <a:lnTo>
                  <a:pt x="714" y="677"/>
                </a:lnTo>
                <a:lnTo>
                  <a:pt x="684" y="669"/>
                </a:lnTo>
                <a:lnTo>
                  <a:pt x="684" y="657"/>
                </a:lnTo>
                <a:lnTo>
                  <a:pt x="690" y="637"/>
                </a:lnTo>
                <a:lnTo>
                  <a:pt x="678" y="601"/>
                </a:lnTo>
                <a:lnTo>
                  <a:pt x="661" y="599"/>
                </a:lnTo>
                <a:lnTo>
                  <a:pt x="645" y="599"/>
                </a:lnTo>
                <a:lnTo>
                  <a:pt x="617" y="591"/>
                </a:lnTo>
                <a:lnTo>
                  <a:pt x="623" y="571"/>
                </a:lnTo>
                <a:lnTo>
                  <a:pt x="637" y="551"/>
                </a:lnTo>
                <a:lnTo>
                  <a:pt x="641" y="531"/>
                </a:lnTo>
                <a:lnTo>
                  <a:pt x="667" y="513"/>
                </a:lnTo>
                <a:lnTo>
                  <a:pt x="661" y="495"/>
                </a:lnTo>
                <a:lnTo>
                  <a:pt x="631" y="503"/>
                </a:lnTo>
                <a:lnTo>
                  <a:pt x="613" y="511"/>
                </a:lnTo>
                <a:lnTo>
                  <a:pt x="593" y="507"/>
                </a:lnTo>
                <a:lnTo>
                  <a:pt x="593" y="515"/>
                </a:lnTo>
                <a:lnTo>
                  <a:pt x="567" y="501"/>
                </a:lnTo>
                <a:lnTo>
                  <a:pt x="569" y="493"/>
                </a:lnTo>
                <a:lnTo>
                  <a:pt x="591" y="485"/>
                </a:lnTo>
                <a:lnTo>
                  <a:pt x="579" y="469"/>
                </a:lnTo>
                <a:lnTo>
                  <a:pt x="559" y="473"/>
                </a:lnTo>
                <a:lnTo>
                  <a:pt x="545" y="487"/>
                </a:lnTo>
                <a:lnTo>
                  <a:pt x="533" y="493"/>
                </a:lnTo>
                <a:lnTo>
                  <a:pt x="531" y="511"/>
                </a:lnTo>
                <a:lnTo>
                  <a:pt x="517" y="513"/>
                </a:lnTo>
                <a:lnTo>
                  <a:pt x="531" y="527"/>
                </a:lnTo>
                <a:lnTo>
                  <a:pt x="531" y="541"/>
                </a:lnTo>
                <a:lnTo>
                  <a:pt x="515" y="559"/>
                </a:lnTo>
                <a:lnTo>
                  <a:pt x="495" y="551"/>
                </a:lnTo>
                <a:lnTo>
                  <a:pt x="509" y="571"/>
                </a:lnTo>
                <a:lnTo>
                  <a:pt x="501" y="575"/>
                </a:lnTo>
                <a:lnTo>
                  <a:pt x="475" y="551"/>
                </a:lnTo>
                <a:lnTo>
                  <a:pt x="483" y="583"/>
                </a:lnTo>
                <a:lnTo>
                  <a:pt x="501" y="595"/>
                </a:lnTo>
                <a:lnTo>
                  <a:pt x="483" y="613"/>
                </a:lnTo>
                <a:lnTo>
                  <a:pt x="475" y="603"/>
                </a:lnTo>
                <a:lnTo>
                  <a:pt x="455" y="601"/>
                </a:lnTo>
                <a:lnTo>
                  <a:pt x="443" y="607"/>
                </a:lnTo>
                <a:lnTo>
                  <a:pt x="401" y="609"/>
                </a:lnTo>
                <a:lnTo>
                  <a:pt x="403" y="591"/>
                </a:lnTo>
                <a:lnTo>
                  <a:pt x="431" y="563"/>
                </a:lnTo>
                <a:lnTo>
                  <a:pt x="433" y="537"/>
                </a:lnTo>
                <a:lnTo>
                  <a:pt x="435" y="517"/>
                </a:lnTo>
                <a:lnTo>
                  <a:pt x="459" y="513"/>
                </a:lnTo>
                <a:lnTo>
                  <a:pt x="495" y="515"/>
                </a:lnTo>
                <a:lnTo>
                  <a:pt x="503" y="507"/>
                </a:lnTo>
                <a:lnTo>
                  <a:pt x="479" y="499"/>
                </a:lnTo>
                <a:lnTo>
                  <a:pt x="471" y="485"/>
                </a:lnTo>
                <a:lnTo>
                  <a:pt x="443" y="469"/>
                </a:lnTo>
                <a:lnTo>
                  <a:pt x="433" y="441"/>
                </a:lnTo>
                <a:lnTo>
                  <a:pt x="439" y="427"/>
                </a:lnTo>
                <a:lnTo>
                  <a:pt x="423" y="399"/>
                </a:lnTo>
                <a:lnTo>
                  <a:pt x="385" y="393"/>
                </a:lnTo>
                <a:lnTo>
                  <a:pt x="345" y="361"/>
                </a:lnTo>
                <a:lnTo>
                  <a:pt x="309" y="359"/>
                </a:lnTo>
                <a:lnTo>
                  <a:pt x="283" y="367"/>
                </a:lnTo>
                <a:lnTo>
                  <a:pt x="273" y="381"/>
                </a:lnTo>
                <a:lnTo>
                  <a:pt x="261" y="389"/>
                </a:lnTo>
                <a:lnTo>
                  <a:pt x="231" y="391"/>
                </a:lnTo>
                <a:lnTo>
                  <a:pt x="215" y="405"/>
                </a:lnTo>
                <a:lnTo>
                  <a:pt x="187" y="405"/>
                </a:lnTo>
                <a:lnTo>
                  <a:pt x="177" y="393"/>
                </a:lnTo>
                <a:lnTo>
                  <a:pt x="165" y="389"/>
                </a:lnTo>
                <a:lnTo>
                  <a:pt x="136" y="399"/>
                </a:lnTo>
                <a:lnTo>
                  <a:pt x="116" y="401"/>
                </a:lnTo>
                <a:lnTo>
                  <a:pt x="102" y="389"/>
                </a:lnTo>
                <a:lnTo>
                  <a:pt x="80" y="393"/>
                </a:lnTo>
                <a:lnTo>
                  <a:pt x="60" y="405"/>
                </a:lnTo>
                <a:lnTo>
                  <a:pt x="50" y="401"/>
                </a:lnTo>
                <a:lnTo>
                  <a:pt x="24" y="401"/>
                </a:lnTo>
                <a:lnTo>
                  <a:pt x="0" y="361"/>
                </a:lnTo>
                <a:lnTo>
                  <a:pt x="4" y="343"/>
                </a:lnTo>
                <a:lnTo>
                  <a:pt x="50" y="301"/>
                </a:lnTo>
                <a:lnTo>
                  <a:pt x="36" y="252"/>
                </a:lnTo>
                <a:lnTo>
                  <a:pt x="90" y="208"/>
                </a:lnTo>
                <a:lnTo>
                  <a:pt x="106" y="182"/>
                </a:lnTo>
                <a:lnTo>
                  <a:pt x="104" y="156"/>
                </a:lnTo>
                <a:lnTo>
                  <a:pt x="92" y="124"/>
                </a:lnTo>
                <a:lnTo>
                  <a:pt x="78" y="96"/>
                </a:lnTo>
                <a:lnTo>
                  <a:pt x="60" y="82"/>
                </a:lnTo>
                <a:lnTo>
                  <a:pt x="90" y="84"/>
                </a:lnTo>
                <a:lnTo>
                  <a:pt x="102" y="70"/>
                </a:lnTo>
                <a:lnTo>
                  <a:pt x="158" y="68"/>
                </a:lnTo>
                <a:lnTo>
                  <a:pt x="213" y="68"/>
                </a:lnTo>
                <a:lnTo>
                  <a:pt x="227" y="68"/>
                </a:lnTo>
                <a:lnTo>
                  <a:pt x="299" y="84"/>
                </a:lnTo>
                <a:lnTo>
                  <a:pt x="351" y="84"/>
                </a:lnTo>
                <a:lnTo>
                  <a:pt x="373" y="76"/>
                </a:lnTo>
                <a:lnTo>
                  <a:pt x="393" y="76"/>
                </a:lnTo>
                <a:lnTo>
                  <a:pt x="415" y="84"/>
                </a:lnTo>
                <a:lnTo>
                  <a:pt x="459" y="78"/>
                </a:lnTo>
                <a:lnTo>
                  <a:pt x="467" y="92"/>
                </a:lnTo>
                <a:lnTo>
                  <a:pt x="483" y="74"/>
                </a:lnTo>
                <a:lnTo>
                  <a:pt x="481" y="42"/>
                </a:lnTo>
                <a:lnTo>
                  <a:pt x="517" y="22"/>
                </a:lnTo>
                <a:lnTo>
                  <a:pt x="537" y="2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6" name="Freeform 104"/>
          <p:cNvSpPr>
            <a:spLocks noChangeAspect="1"/>
          </p:cNvSpPr>
          <p:nvPr/>
        </p:nvSpPr>
        <p:spPr bwMode="auto">
          <a:xfrm>
            <a:off x="5049689" y="4686647"/>
            <a:ext cx="827087" cy="206375"/>
          </a:xfrm>
          <a:custGeom>
            <a:avLst/>
            <a:gdLst>
              <a:gd name="T0" fmla="*/ 0 w 601"/>
              <a:gd name="T1" fmla="*/ 28736 h 158"/>
              <a:gd name="T2" fmla="*/ 57800 w 601"/>
              <a:gd name="T3" fmla="*/ 40491 h 158"/>
              <a:gd name="T4" fmla="*/ 103214 w 601"/>
              <a:gd name="T5" fmla="*/ 52247 h 158"/>
              <a:gd name="T6" fmla="*/ 148628 w 601"/>
              <a:gd name="T7" fmla="*/ 61390 h 158"/>
              <a:gd name="T8" fmla="*/ 174775 w 601"/>
              <a:gd name="T9" fmla="*/ 87513 h 158"/>
              <a:gd name="T10" fmla="*/ 180280 w 601"/>
              <a:gd name="T11" fmla="*/ 116249 h 158"/>
              <a:gd name="T12" fmla="*/ 184409 w 601"/>
              <a:gd name="T13" fmla="*/ 141066 h 158"/>
              <a:gd name="T14" fmla="*/ 238080 w 601"/>
              <a:gd name="T15" fmla="*/ 142373 h 158"/>
              <a:gd name="T16" fmla="*/ 260099 w 601"/>
              <a:gd name="T17" fmla="*/ 117555 h 158"/>
              <a:gd name="T18" fmla="*/ 275237 w 601"/>
              <a:gd name="T19" fmla="*/ 121474 h 158"/>
              <a:gd name="T20" fmla="*/ 287623 w 601"/>
              <a:gd name="T21" fmla="*/ 135842 h 158"/>
              <a:gd name="T22" fmla="*/ 324780 w 601"/>
              <a:gd name="T23" fmla="*/ 142373 h 158"/>
              <a:gd name="T24" fmla="*/ 348175 w 601"/>
              <a:gd name="T25" fmla="*/ 150210 h 158"/>
              <a:gd name="T26" fmla="*/ 390836 w 601"/>
              <a:gd name="T27" fmla="*/ 130617 h 158"/>
              <a:gd name="T28" fmla="*/ 432122 w 601"/>
              <a:gd name="T29" fmla="*/ 129311 h 158"/>
              <a:gd name="T30" fmla="*/ 465150 w 601"/>
              <a:gd name="T31" fmla="*/ 107106 h 158"/>
              <a:gd name="T32" fmla="*/ 491298 w 601"/>
              <a:gd name="T33" fmla="*/ 97963 h 158"/>
              <a:gd name="T34" fmla="*/ 522950 w 601"/>
              <a:gd name="T35" fmla="*/ 111025 h 158"/>
              <a:gd name="T36" fmla="*/ 575245 w 601"/>
              <a:gd name="T37" fmla="*/ 116249 h 158"/>
              <a:gd name="T38" fmla="*/ 600016 w 601"/>
              <a:gd name="T39" fmla="*/ 108412 h 158"/>
              <a:gd name="T40" fmla="*/ 584878 w 601"/>
              <a:gd name="T41" fmla="*/ 90126 h 158"/>
              <a:gd name="T42" fmla="*/ 542217 w 601"/>
              <a:gd name="T43" fmla="*/ 78370 h 158"/>
              <a:gd name="T44" fmla="*/ 525703 w 601"/>
              <a:gd name="T45" fmla="*/ 49634 h 158"/>
              <a:gd name="T46" fmla="*/ 500931 w 601"/>
              <a:gd name="T47" fmla="*/ 40491 h 158"/>
              <a:gd name="T48" fmla="*/ 441755 w 601"/>
              <a:gd name="T49" fmla="*/ 32654 h 158"/>
              <a:gd name="T50" fmla="*/ 408727 w 601"/>
              <a:gd name="T51" fmla="*/ 6531 h 158"/>
              <a:gd name="T52" fmla="*/ 378451 w 601"/>
              <a:gd name="T53" fmla="*/ 0 h 158"/>
              <a:gd name="T54" fmla="*/ 330284 w 601"/>
              <a:gd name="T55" fmla="*/ 2612 h 158"/>
              <a:gd name="T56" fmla="*/ 293127 w 601"/>
              <a:gd name="T57" fmla="*/ 23511 h 158"/>
              <a:gd name="T58" fmla="*/ 255970 w 601"/>
              <a:gd name="T59" fmla="*/ 26123 h 158"/>
              <a:gd name="T60" fmla="*/ 207804 w 601"/>
              <a:gd name="T61" fmla="*/ 9143 h 158"/>
              <a:gd name="T62" fmla="*/ 154133 w 601"/>
              <a:gd name="T63" fmla="*/ 2612 h 158"/>
              <a:gd name="T64" fmla="*/ 90828 w 601"/>
              <a:gd name="T65" fmla="*/ 9143 h 158"/>
              <a:gd name="T66" fmla="*/ 44038 w 601"/>
              <a:gd name="T67" fmla="*/ 11756 h 158"/>
              <a:gd name="T68" fmla="*/ 12386 w 601"/>
              <a:gd name="T69" fmla="*/ 16980 h 158"/>
              <a:gd name="T70" fmla="*/ 0 w 601"/>
              <a:gd name="T71" fmla="*/ 28736 h 15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01"/>
              <a:gd name="T109" fmla="*/ 0 h 158"/>
              <a:gd name="T110" fmla="*/ 601 w 601"/>
              <a:gd name="T111" fmla="*/ 158 h 15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01" h="158">
                <a:moveTo>
                  <a:pt x="0" y="30"/>
                </a:moveTo>
                <a:lnTo>
                  <a:pt x="58" y="42"/>
                </a:lnTo>
                <a:lnTo>
                  <a:pt x="105" y="54"/>
                </a:lnTo>
                <a:lnTo>
                  <a:pt x="149" y="64"/>
                </a:lnTo>
                <a:lnTo>
                  <a:pt x="175" y="94"/>
                </a:lnTo>
                <a:lnTo>
                  <a:pt x="181" y="122"/>
                </a:lnTo>
                <a:lnTo>
                  <a:pt x="185" y="148"/>
                </a:lnTo>
                <a:lnTo>
                  <a:pt x="238" y="150"/>
                </a:lnTo>
                <a:lnTo>
                  <a:pt x="260" y="124"/>
                </a:lnTo>
                <a:lnTo>
                  <a:pt x="276" y="128"/>
                </a:lnTo>
                <a:lnTo>
                  <a:pt x="288" y="144"/>
                </a:lnTo>
                <a:lnTo>
                  <a:pt x="326" y="150"/>
                </a:lnTo>
                <a:lnTo>
                  <a:pt x="350" y="158"/>
                </a:lnTo>
                <a:lnTo>
                  <a:pt x="392" y="138"/>
                </a:lnTo>
                <a:lnTo>
                  <a:pt x="432" y="136"/>
                </a:lnTo>
                <a:lnTo>
                  <a:pt x="466" y="112"/>
                </a:lnTo>
                <a:lnTo>
                  <a:pt x="492" y="102"/>
                </a:lnTo>
                <a:lnTo>
                  <a:pt x="524" y="118"/>
                </a:lnTo>
                <a:lnTo>
                  <a:pt x="576" y="122"/>
                </a:lnTo>
                <a:lnTo>
                  <a:pt x="601" y="114"/>
                </a:lnTo>
                <a:lnTo>
                  <a:pt x="585" y="96"/>
                </a:lnTo>
                <a:lnTo>
                  <a:pt x="542" y="84"/>
                </a:lnTo>
                <a:lnTo>
                  <a:pt x="526" y="52"/>
                </a:lnTo>
                <a:lnTo>
                  <a:pt x="502" y="42"/>
                </a:lnTo>
                <a:lnTo>
                  <a:pt x="442" y="34"/>
                </a:lnTo>
                <a:lnTo>
                  <a:pt x="408" y="8"/>
                </a:lnTo>
                <a:lnTo>
                  <a:pt x="380" y="0"/>
                </a:lnTo>
                <a:lnTo>
                  <a:pt x="330" y="2"/>
                </a:lnTo>
                <a:lnTo>
                  <a:pt x="294" y="24"/>
                </a:lnTo>
                <a:lnTo>
                  <a:pt x="256" y="28"/>
                </a:lnTo>
                <a:lnTo>
                  <a:pt x="208" y="10"/>
                </a:lnTo>
                <a:lnTo>
                  <a:pt x="155" y="2"/>
                </a:lnTo>
                <a:lnTo>
                  <a:pt x="91" y="10"/>
                </a:lnTo>
                <a:lnTo>
                  <a:pt x="44" y="12"/>
                </a:lnTo>
                <a:lnTo>
                  <a:pt x="12" y="18"/>
                </a:lnTo>
                <a:lnTo>
                  <a:pt x="0" y="3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7" name="Freeform 105"/>
          <p:cNvSpPr>
            <a:spLocks noChangeAspect="1"/>
          </p:cNvSpPr>
          <p:nvPr/>
        </p:nvSpPr>
        <p:spPr bwMode="auto">
          <a:xfrm>
            <a:off x="5495776" y="4850160"/>
            <a:ext cx="350838" cy="201612"/>
          </a:xfrm>
          <a:custGeom>
            <a:avLst/>
            <a:gdLst>
              <a:gd name="T0" fmla="*/ 0 w 255"/>
              <a:gd name="T1" fmla="*/ 24714 h 155"/>
              <a:gd name="T2" fmla="*/ 24765 w 255"/>
              <a:gd name="T3" fmla="*/ 78043 h 155"/>
              <a:gd name="T4" fmla="*/ 107315 w 255"/>
              <a:gd name="T5" fmla="*/ 78043 h 155"/>
              <a:gd name="T6" fmla="*/ 138959 w 255"/>
              <a:gd name="T7" fmla="*/ 117065 h 155"/>
              <a:gd name="T8" fmla="*/ 148590 w 255"/>
              <a:gd name="T9" fmla="*/ 120967 h 155"/>
              <a:gd name="T10" fmla="*/ 176107 w 255"/>
              <a:gd name="T11" fmla="*/ 109261 h 155"/>
              <a:gd name="T12" fmla="*/ 198120 w 255"/>
              <a:gd name="T13" fmla="*/ 114464 h 155"/>
              <a:gd name="T14" fmla="*/ 221510 w 255"/>
              <a:gd name="T15" fmla="*/ 120967 h 155"/>
              <a:gd name="T16" fmla="*/ 235268 w 255"/>
              <a:gd name="T17" fmla="*/ 145681 h 155"/>
              <a:gd name="T18" fmla="*/ 257281 w 255"/>
              <a:gd name="T19" fmla="*/ 140478 h 155"/>
              <a:gd name="T20" fmla="*/ 251778 w 255"/>
              <a:gd name="T21" fmla="*/ 115764 h 155"/>
              <a:gd name="T22" fmla="*/ 244899 w 255"/>
              <a:gd name="T23" fmla="*/ 83246 h 155"/>
              <a:gd name="T24" fmla="*/ 198120 w 255"/>
              <a:gd name="T25" fmla="*/ 68938 h 155"/>
              <a:gd name="T26" fmla="*/ 181610 w 255"/>
              <a:gd name="T27" fmla="*/ 62435 h 155"/>
              <a:gd name="T28" fmla="*/ 193993 w 255"/>
              <a:gd name="T29" fmla="*/ 49427 h 155"/>
              <a:gd name="T30" fmla="*/ 182986 w 255"/>
              <a:gd name="T31" fmla="*/ 31217 h 155"/>
              <a:gd name="T32" fmla="*/ 160973 w 255"/>
              <a:gd name="T33" fmla="*/ 31217 h 155"/>
              <a:gd name="T34" fmla="*/ 160973 w 255"/>
              <a:gd name="T35" fmla="*/ 15609 h 155"/>
              <a:gd name="T36" fmla="*/ 148590 w 255"/>
              <a:gd name="T37" fmla="*/ 5203 h 155"/>
              <a:gd name="T38" fmla="*/ 125201 w 255"/>
              <a:gd name="T39" fmla="*/ 0 h 155"/>
              <a:gd name="T40" fmla="*/ 105939 w 255"/>
              <a:gd name="T41" fmla="*/ 11707 h 155"/>
              <a:gd name="T42" fmla="*/ 70168 w 255"/>
              <a:gd name="T43" fmla="*/ 11707 h 155"/>
              <a:gd name="T44" fmla="*/ 22013 w 255"/>
              <a:gd name="T45" fmla="*/ 31217 h 155"/>
              <a:gd name="T46" fmla="*/ 0 w 255"/>
              <a:gd name="T47" fmla="*/ 24714 h 15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55"/>
              <a:gd name="T73" fmla="*/ 0 h 155"/>
              <a:gd name="T74" fmla="*/ 255 w 255"/>
              <a:gd name="T75" fmla="*/ 155 h 15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55" h="155">
                <a:moveTo>
                  <a:pt x="0" y="26"/>
                </a:moveTo>
                <a:lnTo>
                  <a:pt x="24" y="84"/>
                </a:lnTo>
                <a:lnTo>
                  <a:pt x="108" y="84"/>
                </a:lnTo>
                <a:lnTo>
                  <a:pt x="138" y="125"/>
                </a:lnTo>
                <a:lnTo>
                  <a:pt x="148" y="129"/>
                </a:lnTo>
                <a:lnTo>
                  <a:pt x="174" y="117"/>
                </a:lnTo>
                <a:lnTo>
                  <a:pt x="196" y="121"/>
                </a:lnTo>
                <a:lnTo>
                  <a:pt x="220" y="129"/>
                </a:lnTo>
                <a:lnTo>
                  <a:pt x="234" y="155"/>
                </a:lnTo>
                <a:lnTo>
                  <a:pt x="255" y="149"/>
                </a:lnTo>
                <a:lnTo>
                  <a:pt x="250" y="123"/>
                </a:lnTo>
                <a:lnTo>
                  <a:pt x="242" y="88"/>
                </a:lnTo>
                <a:lnTo>
                  <a:pt x="196" y="74"/>
                </a:lnTo>
                <a:lnTo>
                  <a:pt x="180" y="66"/>
                </a:lnTo>
                <a:lnTo>
                  <a:pt x="192" y="52"/>
                </a:lnTo>
                <a:lnTo>
                  <a:pt x="182" y="34"/>
                </a:lnTo>
                <a:lnTo>
                  <a:pt x="160" y="34"/>
                </a:lnTo>
                <a:lnTo>
                  <a:pt x="160" y="16"/>
                </a:lnTo>
                <a:lnTo>
                  <a:pt x="148" y="6"/>
                </a:lnTo>
                <a:lnTo>
                  <a:pt x="124" y="0"/>
                </a:lnTo>
                <a:lnTo>
                  <a:pt x="104" y="12"/>
                </a:lnTo>
                <a:lnTo>
                  <a:pt x="70" y="12"/>
                </a:lnTo>
                <a:lnTo>
                  <a:pt x="22" y="34"/>
                </a:lnTo>
                <a:lnTo>
                  <a:pt x="0" y="26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8" name="Freeform 106"/>
          <p:cNvSpPr>
            <a:spLocks noChangeAspect="1"/>
          </p:cNvSpPr>
          <p:nvPr/>
        </p:nvSpPr>
        <p:spPr bwMode="auto">
          <a:xfrm>
            <a:off x="5698976" y="5002560"/>
            <a:ext cx="122238" cy="58737"/>
          </a:xfrm>
          <a:custGeom>
            <a:avLst/>
            <a:gdLst>
              <a:gd name="T0" fmla="*/ 0 w 88"/>
              <a:gd name="T1" fmla="*/ 11492 h 46"/>
              <a:gd name="T2" fmla="*/ 27781 w 88"/>
              <a:gd name="T3" fmla="*/ 0 h 46"/>
              <a:gd name="T4" fmla="*/ 54174 w 88"/>
              <a:gd name="T5" fmla="*/ 5108 h 46"/>
              <a:gd name="T6" fmla="*/ 79177 w 88"/>
              <a:gd name="T7" fmla="*/ 11492 h 46"/>
              <a:gd name="T8" fmla="*/ 91679 w 88"/>
              <a:gd name="T9" fmla="*/ 34476 h 46"/>
              <a:gd name="T10" fmla="*/ 70842 w 88"/>
              <a:gd name="T11" fmla="*/ 42137 h 46"/>
              <a:gd name="T12" fmla="*/ 34727 w 88"/>
              <a:gd name="T13" fmla="*/ 20430 h 46"/>
              <a:gd name="T14" fmla="*/ 9723 w 88"/>
              <a:gd name="T15" fmla="*/ 21707 h 46"/>
              <a:gd name="T16" fmla="*/ 0 w 88"/>
              <a:gd name="T17" fmla="*/ 11492 h 4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8"/>
              <a:gd name="T28" fmla="*/ 0 h 46"/>
              <a:gd name="T29" fmla="*/ 88 w 88"/>
              <a:gd name="T30" fmla="*/ 46 h 4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8" h="46">
                <a:moveTo>
                  <a:pt x="0" y="12"/>
                </a:moveTo>
                <a:lnTo>
                  <a:pt x="26" y="0"/>
                </a:lnTo>
                <a:lnTo>
                  <a:pt x="52" y="4"/>
                </a:lnTo>
                <a:lnTo>
                  <a:pt x="76" y="12"/>
                </a:lnTo>
                <a:lnTo>
                  <a:pt x="88" y="38"/>
                </a:lnTo>
                <a:lnTo>
                  <a:pt x="68" y="46"/>
                </a:lnTo>
                <a:lnTo>
                  <a:pt x="34" y="22"/>
                </a:lnTo>
                <a:lnTo>
                  <a:pt x="10" y="24"/>
                </a:lnTo>
                <a:lnTo>
                  <a:pt x="0" y="12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199" name="Freeform 107"/>
          <p:cNvSpPr>
            <a:spLocks noChangeAspect="1"/>
          </p:cNvSpPr>
          <p:nvPr/>
        </p:nvSpPr>
        <p:spPr bwMode="auto">
          <a:xfrm>
            <a:off x="5667226" y="4758085"/>
            <a:ext cx="468313" cy="350837"/>
          </a:xfrm>
          <a:custGeom>
            <a:avLst/>
            <a:gdLst>
              <a:gd name="T0" fmla="*/ 81028 w 341"/>
              <a:gd name="T1" fmla="*/ 0 h 271"/>
              <a:gd name="T2" fmla="*/ 122228 w 341"/>
              <a:gd name="T3" fmla="*/ 6473 h 271"/>
              <a:gd name="T4" fmla="*/ 162056 w 341"/>
              <a:gd name="T5" fmla="*/ 16830 h 271"/>
              <a:gd name="T6" fmla="*/ 185403 w 341"/>
              <a:gd name="T7" fmla="*/ 33660 h 271"/>
              <a:gd name="T8" fmla="*/ 206003 w 341"/>
              <a:gd name="T9" fmla="*/ 27187 h 271"/>
              <a:gd name="T10" fmla="*/ 206003 w 341"/>
              <a:gd name="T11" fmla="*/ 5178 h 271"/>
              <a:gd name="T12" fmla="*/ 259564 w 341"/>
              <a:gd name="T13" fmla="*/ 47900 h 271"/>
              <a:gd name="T14" fmla="*/ 293897 w 341"/>
              <a:gd name="T15" fmla="*/ 44016 h 271"/>
              <a:gd name="T16" fmla="*/ 340591 w 341"/>
              <a:gd name="T17" fmla="*/ 55668 h 271"/>
              <a:gd name="T18" fmla="*/ 309004 w 341"/>
              <a:gd name="T19" fmla="*/ 77676 h 271"/>
              <a:gd name="T20" fmla="*/ 296644 w 341"/>
              <a:gd name="T21" fmla="*/ 91917 h 271"/>
              <a:gd name="T22" fmla="*/ 281537 w 341"/>
              <a:gd name="T23" fmla="*/ 124282 h 271"/>
              <a:gd name="T24" fmla="*/ 293897 w 341"/>
              <a:gd name="T25" fmla="*/ 199369 h 271"/>
              <a:gd name="T26" fmla="*/ 273297 w 341"/>
              <a:gd name="T27" fmla="*/ 174771 h 271"/>
              <a:gd name="T28" fmla="*/ 259564 w 341"/>
              <a:gd name="T29" fmla="*/ 185128 h 271"/>
              <a:gd name="T30" fmla="*/ 262310 w 341"/>
              <a:gd name="T31" fmla="*/ 249858 h 271"/>
              <a:gd name="T32" fmla="*/ 201883 w 341"/>
              <a:gd name="T33" fmla="*/ 212315 h 271"/>
              <a:gd name="T34" fmla="*/ 214243 w 341"/>
              <a:gd name="T35" fmla="*/ 178655 h 271"/>
              <a:gd name="T36" fmla="*/ 196389 w 341"/>
              <a:gd name="T37" fmla="*/ 160531 h 271"/>
              <a:gd name="T38" fmla="*/ 163429 w 341"/>
              <a:gd name="T39" fmla="*/ 159236 h 271"/>
              <a:gd name="T40" fmla="*/ 135962 w 341"/>
              <a:gd name="T41" fmla="*/ 201958 h 271"/>
              <a:gd name="T42" fmla="*/ 135962 w 341"/>
              <a:gd name="T43" fmla="*/ 196779 h 271"/>
              <a:gd name="T44" fmla="*/ 118108 w 341"/>
              <a:gd name="T45" fmla="*/ 147585 h 271"/>
              <a:gd name="T46" fmla="*/ 70041 w 341"/>
              <a:gd name="T47" fmla="*/ 134639 h 271"/>
              <a:gd name="T48" fmla="*/ 54934 w 341"/>
              <a:gd name="T49" fmla="*/ 126871 h 271"/>
              <a:gd name="T50" fmla="*/ 68668 w 341"/>
              <a:gd name="T51" fmla="*/ 117809 h 271"/>
              <a:gd name="T52" fmla="*/ 57681 w 341"/>
              <a:gd name="T53" fmla="*/ 98390 h 271"/>
              <a:gd name="T54" fmla="*/ 34334 w 341"/>
              <a:gd name="T55" fmla="*/ 98390 h 271"/>
              <a:gd name="T56" fmla="*/ 34334 w 341"/>
              <a:gd name="T57" fmla="*/ 81560 h 271"/>
              <a:gd name="T58" fmla="*/ 19227 w 341"/>
              <a:gd name="T59" fmla="*/ 69908 h 271"/>
              <a:gd name="T60" fmla="*/ 0 w 341"/>
              <a:gd name="T61" fmla="*/ 68614 h 271"/>
              <a:gd name="T62" fmla="*/ 17854 w 341"/>
              <a:gd name="T63" fmla="*/ 55668 h 271"/>
              <a:gd name="T64" fmla="*/ 43947 w 341"/>
              <a:gd name="T65" fmla="*/ 46606 h 271"/>
              <a:gd name="T66" fmla="*/ 74161 w 341"/>
              <a:gd name="T67" fmla="*/ 59552 h 271"/>
              <a:gd name="T68" fmla="*/ 105748 w 341"/>
              <a:gd name="T69" fmla="*/ 62141 h 271"/>
              <a:gd name="T70" fmla="*/ 129095 w 341"/>
              <a:gd name="T71" fmla="*/ 64730 h 271"/>
              <a:gd name="T72" fmla="*/ 151069 w 341"/>
              <a:gd name="T73" fmla="*/ 53079 h 271"/>
              <a:gd name="T74" fmla="*/ 130468 w 341"/>
              <a:gd name="T75" fmla="*/ 37543 h 271"/>
              <a:gd name="T76" fmla="*/ 94761 w 341"/>
              <a:gd name="T77" fmla="*/ 27187 h 271"/>
              <a:gd name="T78" fmla="*/ 81028 w 341"/>
              <a:gd name="T79" fmla="*/ 0 h 27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41"/>
              <a:gd name="T121" fmla="*/ 0 h 271"/>
              <a:gd name="T122" fmla="*/ 341 w 341"/>
              <a:gd name="T123" fmla="*/ 271 h 27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41" h="271">
                <a:moveTo>
                  <a:pt x="80" y="0"/>
                </a:moveTo>
                <a:lnTo>
                  <a:pt x="122" y="8"/>
                </a:lnTo>
                <a:lnTo>
                  <a:pt x="161" y="18"/>
                </a:lnTo>
                <a:lnTo>
                  <a:pt x="185" y="36"/>
                </a:lnTo>
                <a:lnTo>
                  <a:pt x="205" y="30"/>
                </a:lnTo>
                <a:lnTo>
                  <a:pt x="207" y="4"/>
                </a:lnTo>
                <a:lnTo>
                  <a:pt x="259" y="52"/>
                </a:lnTo>
                <a:lnTo>
                  <a:pt x="293" y="48"/>
                </a:lnTo>
                <a:lnTo>
                  <a:pt x="341" y="60"/>
                </a:lnTo>
                <a:lnTo>
                  <a:pt x="309" y="84"/>
                </a:lnTo>
                <a:lnTo>
                  <a:pt x="297" y="98"/>
                </a:lnTo>
                <a:lnTo>
                  <a:pt x="281" y="136"/>
                </a:lnTo>
                <a:lnTo>
                  <a:pt x="293" y="217"/>
                </a:lnTo>
                <a:lnTo>
                  <a:pt x="273" y="189"/>
                </a:lnTo>
                <a:lnTo>
                  <a:pt x="259" y="201"/>
                </a:lnTo>
                <a:lnTo>
                  <a:pt x="261" y="271"/>
                </a:lnTo>
                <a:lnTo>
                  <a:pt x="201" y="231"/>
                </a:lnTo>
                <a:lnTo>
                  <a:pt x="213" y="193"/>
                </a:lnTo>
                <a:lnTo>
                  <a:pt x="197" y="175"/>
                </a:lnTo>
                <a:lnTo>
                  <a:pt x="163" y="173"/>
                </a:lnTo>
                <a:lnTo>
                  <a:pt x="135" y="219"/>
                </a:lnTo>
                <a:lnTo>
                  <a:pt x="135" y="213"/>
                </a:lnTo>
                <a:lnTo>
                  <a:pt x="118" y="160"/>
                </a:lnTo>
                <a:lnTo>
                  <a:pt x="70" y="146"/>
                </a:lnTo>
                <a:lnTo>
                  <a:pt x="54" y="138"/>
                </a:lnTo>
                <a:lnTo>
                  <a:pt x="68" y="128"/>
                </a:lnTo>
                <a:lnTo>
                  <a:pt x="58" y="106"/>
                </a:lnTo>
                <a:lnTo>
                  <a:pt x="34" y="106"/>
                </a:lnTo>
                <a:lnTo>
                  <a:pt x="34" y="88"/>
                </a:lnTo>
                <a:lnTo>
                  <a:pt x="20" y="76"/>
                </a:lnTo>
                <a:lnTo>
                  <a:pt x="0" y="74"/>
                </a:lnTo>
                <a:lnTo>
                  <a:pt x="18" y="60"/>
                </a:lnTo>
                <a:lnTo>
                  <a:pt x="44" y="50"/>
                </a:lnTo>
                <a:lnTo>
                  <a:pt x="74" y="64"/>
                </a:lnTo>
                <a:lnTo>
                  <a:pt x="104" y="68"/>
                </a:lnTo>
                <a:lnTo>
                  <a:pt x="128" y="70"/>
                </a:lnTo>
                <a:lnTo>
                  <a:pt x="151" y="58"/>
                </a:lnTo>
                <a:lnTo>
                  <a:pt x="131" y="40"/>
                </a:lnTo>
                <a:lnTo>
                  <a:pt x="94" y="30"/>
                </a:lnTo>
                <a:lnTo>
                  <a:pt x="80" y="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  <p:sp>
        <p:nvSpPr>
          <p:cNvPr id="200" name="Freeform 108"/>
          <p:cNvSpPr>
            <a:spLocks noChangeAspect="1"/>
          </p:cNvSpPr>
          <p:nvPr/>
        </p:nvSpPr>
        <p:spPr bwMode="auto">
          <a:xfrm>
            <a:off x="3570139" y="3426172"/>
            <a:ext cx="736600" cy="566738"/>
          </a:xfrm>
          <a:custGeom>
            <a:avLst/>
            <a:gdLst>
              <a:gd name="T0" fmla="*/ 203770 w 535"/>
              <a:gd name="T1" fmla="*/ 25938 h 437"/>
              <a:gd name="T2" fmla="*/ 174856 w 535"/>
              <a:gd name="T3" fmla="*/ 44094 h 437"/>
              <a:gd name="T4" fmla="*/ 165219 w 535"/>
              <a:gd name="T5" fmla="*/ 60954 h 437"/>
              <a:gd name="T6" fmla="*/ 165219 w 535"/>
              <a:gd name="T7" fmla="*/ 88188 h 437"/>
              <a:gd name="T8" fmla="*/ 133552 w 535"/>
              <a:gd name="T9" fmla="*/ 105048 h 437"/>
              <a:gd name="T10" fmla="*/ 130798 w 535"/>
              <a:gd name="T11" fmla="*/ 128391 h 437"/>
              <a:gd name="T12" fmla="*/ 125291 w 535"/>
              <a:gd name="T13" fmla="*/ 181564 h 437"/>
              <a:gd name="T14" fmla="*/ 100508 w 535"/>
              <a:gd name="T15" fmla="*/ 181564 h 437"/>
              <a:gd name="T16" fmla="*/ 55073 w 535"/>
              <a:gd name="T17" fmla="*/ 215283 h 437"/>
              <a:gd name="T18" fmla="*/ 30290 w 535"/>
              <a:gd name="T19" fmla="*/ 204908 h 437"/>
              <a:gd name="T20" fmla="*/ 17899 w 535"/>
              <a:gd name="T21" fmla="*/ 233439 h 437"/>
              <a:gd name="T22" fmla="*/ 30290 w 535"/>
              <a:gd name="T23" fmla="*/ 273642 h 437"/>
              <a:gd name="T24" fmla="*/ 17899 w 535"/>
              <a:gd name="T25" fmla="*/ 313846 h 437"/>
              <a:gd name="T26" fmla="*/ 5507 w 535"/>
              <a:gd name="T27" fmla="*/ 337190 h 437"/>
              <a:gd name="T28" fmla="*/ 9638 w 535"/>
              <a:gd name="T29" fmla="*/ 363127 h 437"/>
              <a:gd name="T30" fmla="*/ 38551 w 535"/>
              <a:gd name="T31" fmla="*/ 394253 h 437"/>
              <a:gd name="T32" fmla="*/ 111523 w 535"/>
              <a:gd name="T33" fmla="*/ 379987 h 437"/>
              <a:gd name="T34" fmla="*/ 214784 w 535"/>
              <a:gd name="T35" fmla="*/ 390362 h 437"/>
              <a:gd name="T36" fmla="*/ 301524 w 535"/>
              <a:gd name="T37" fmla="*/ 394253 h 437"/>
              <a:gd name="T38" fmla="*/ 341452 w 535"/>
              <a:gd name="T39" fmla="*/ 387768 h 437"/>
              <a:gd name="T40" fmla="*/ 407539 w 535"/>
              <a:gd name="T41" fmla="*/ 390362 h 437"/>
              <a:gd name="T42" fmla="*/ 429569 w 535"/>
              <a:gd name="T43" fmla="*/ 387768 h 437"/>
              <a:gd name="T44" fmla="*/ 459859 w 535"/>
              <a:gd name="T45" fmla="*/ 339783 h 437"/>
              <a:gd name="T46" fmla="*/ 487395 w 535"/>
              <a:gd name="T47" fmla="*/ 330705 h 437"/>
              <a:gd name="T48" fmla="*/ 459859 w 535"/>
              <a:gd name="T49" fmla="*/ 271049 h 437"/>
              <a:gd name="T50" fmla="*/ 501163 w 535"/>
              <a:gd name="T51" fmla="*/ 269752 h 437"/>
              <a:gd name="T52" fmla="*/ 534207 w 535"/>
              <a:gd name="T53" fmla="*/ 220470 h 437"/>
              <a:gd name="T54" fmla="*/ 468120 w 535"/>
              <a:gd name="T55" fmla="*/ 203611 h 437"/>
              <a:gd name="T56" fmla="*/ 450221 w 535"/>
              <a:gd name="T57" fmla="*/ 143954 h 437"/>
              <a:gd name="T58" fmla="*/ 402032 w 535"/>
              <a:gd name="T59" fmla="*/ 93376 h 437"/>
              <a:gd name="T60" fmla="*/ 402032 w 535"/>
              <a:gd name="T61" fmla="*/ 58360 h 437"/>
              <a:gd name="T62" fmla="*/ 371742 w 535"/>
              <a:gd name="T63" fmla="*/ 11672 h 437"/>
              <a:gd name="T64" fmla="*/ 302901 w 535"/>
              <a:gd name="T65" fmla="*/ 16859 h 437"/>
              <a:gd name="T66" fmla="*/ 251958 w 535"/>
              <a:gd name="T67" fmla="*/ 0 h 43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535"/>
              <a:gd name="T103" fmla="*/ 0 h 437"/>
              <a:gd name="T104" fmla="*/ 535 w 535"/>
              <a:gd name="T105" fmla="*/ 437 h 43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535" h="437">
                <a:moveTo>
                  <a:pt x="217" y="10"/>
                </a:moveTo>
                <a:lnTo>
                  <a:pt x="203" y="28"/>
                </a:lnTo>
                <a:lnTo>
                  <a:pt x="193" y="45"/>
                </a:lnTo>
                <a:lnTo>
                  <a:pt x="175" y="47"/>
                </a:lnTo>
                <a:lnTo>
                  <a:pt x="157" y="53"/>
                </a:lnTo>
                <a:lnTo>
                  <a:pt x="165" y="65"/>
                </a:lnTo>
                <a:lnTo>
                  <a:pt x="165" y="71"/>
                </a:lnTo>
                <a:lnTo>
                  <a:pt x="165" y="95"/>
                </a:lnTo>
                <a:lnTo>
                  <a:pt x="149" y="97"/>
                </a:lnTo>
                <a:lnTo>
                  <a:pt x="133" y="113"/>
                </a:lnTo>
                <a:lnTo>
                  <a:pt x="133" y="131"/>
                </a:lnTo>
                <a:lnTo>
                  <a:pt x="131" y="139"/>
                </a:lnTo>
                <a:lnTo>
                  <a:pt x="125" y="149"/>
                </a:lnTo>
                <a:lnTo>
                  <a:pt x="125" y="197"/>
                </a:lnTo>
                <a:lnTo>
                  <a:pt x="115" y="203"/>
                </a:lnTo>
                <a:lnTo>
                  <a:pt x="100" y="195"/>
                </a:lnTo>
                <a:lnTo>
                  <a:pt x="74" y="215"/>
                </a:lnTo>
                <a:lnTo>
                  <a:pt x="56" y="233"/>
                </a:lnTo>
                <a:lnTo>
                  <a:pt x="38" y="221"/>
                </a:lnTo>
                <a:lnTo>
                  <a:pt x="30" y="221"/>
                </a:lnTo>
                <a:lnTo>
                  <a:pt x="14" y="225"/>
                </a:lnTo>
                <a:lnTo>
                  <a:pt x="18" y="251"/>
                </a:lnTo>
                <a:lnTo>
                  <a:pt x="26" y="277"/>
                </a:lnTo>
                <a:lnTo>
                  <a:pt x="30" y="295"/>
                </a:lnTo>
                <a:lnTo>
                  <a:pt x="28" y="319"/>
                </a:lnTo>
                <a:lnTo>
                  <a:pt x="18" y="339"/>
                </a:lnTo>
                <a:lnTo>
                  <a:pt x="0" y="355"/>
                </a:lnTo>
                <a:lnTo>
                  <a:pt x="6" y="363"/>
                </a:lnTo>
                <a:lnTo>
                  <a:pt x="20" y="373"/>
                </a:lnTo>
                <a:lnTo>
                  <a:pt x="10" y="391"/>
                </a:lnTo>
                <a:lnTo>
                  <a:pt x="12" y="425"/>
                </a:lnTo>
                <a:lnTo>
                  <a:pt x="38" y="425"/>
                </a:lnTo>
                <a:lnTo>
                  <a:pt x="50" y="413"/>
                </a:lnTo>
                <a:lnTo>
                  <a:pt x="111" y="409"/>
                </a:lnTo>
                <a:lnTo>
                  <a:pt x="163" y="411"/>
                </a:lnTo>
                <a:lnTo>
                  <a:pt x="213" y="419"/>
                </a:lnTo>
                <a:lnTo>
                  <a:pt x="257" y="427"/>
                </a:lnTo>
                <a:lnTo>
                  <a:pt x="301" y="425"/>
                </a:lnTo>
                <a:lnTo>
                  <a:pt x="321" y="419"/>
                </a:lnTo>
                <a:lnTo>
                  <a:pt x="341" y="417"/>
                </a:lnTo>
                <a:lnTo>
                  <a:pt x="365" y="429"/>
                </a:lnTo>
                <a:lnTo>
                  <a:pt x="407" y="419"/>
                </a:lnTo>
                <a:lnTo>
                  <a:pt x="417" y="437"/>
                </a:lnTo>
                <a:lnTo>
                  <a:pt x="429" y="417"/>
                </a:lnTo>
                <a:lnTo>
                  <a:pt x="431" y="383"/>
                </a:lnTo>
                <a:lnTo>
                  <a:pt x="461" y="367"/>
                </a:lnTo>
                <a:lnTo>
                  <a:pt x="487" y="363"/>
                </a:lnTo>
                <a:lnTo>
                  <a:pt x="487" y="357"/>
                </a:lnTo>
                <a:lnTo>
                  <a:pt x="469" y="317"/>
                </a:lnTo>
                <a:lnTo>
                  <a:pt x="461" y="293"/>
                </a:lnTo>
                <a:lnTo>
                  <a:pt x="477" y="285"/>
                </a:lnTo>
                <a:lnTo>
                  <a:pt x="501" y="289"/>
                </a:lnTo>
                <a:lnTo>
                  <a:pt x="535" y="275"/>
                </a:lnTo>
                <a:lnTo>
                  <a:pt x="535" y="237"/>
                </a:lnTo>
                <a:lnTo>
                  <a:pt x="499" y="225"/>
                </a:lnTo>
                <a:lnTo>
                  <a:pt x="467" y="219"/>
                </a:lnTo>
                <a:lnTo>
                  <a:pt x="449" y="187"/>
                </a:lnTo>
                <a:lnTo>
                  <a:pt x="451" y="155"/>
                </a:lnTo>
                <a:lnTo>
                  <a:pt x="419" y="123"/>
                </a:lnTo>
                <a:lnTo>
                  <a:pt x="401" y="99"/>
                </a:lnTo>
                <a:lnTo>
                  <a:pt x="399" y="77"/>
                </a:lnTo>
                <a:lnTo>
                  <a:pt x="403" y="63"/>
                </a:lnTo>
                <a:lnTo>
                  <a:pt x="403" y="34"/>
                </a:lnTo>
                <a:lnTo>
                  <a:pt x="371" y="12"/>
                </a:lnTo>
                <a:lnTo>
                  <a:pt x="335" y="12"/>
                </a:lnTo>
                <a:lnTo>
                  <a:pt x="303" y="18"/>
                </a:lnTo>
                <a:lnTo>
                  <a:pt x="289" y="6"/>
                </a:lnTo>
                <a:lnTo>
                  <a:pt x="251" y="0"/>
                </a:lnTo>
                <a:lnTo>
                  <a:pt x="217" y="10"/>
                </a:lnTo>
                <a:close/>
              </a:path>
            </a:pathLst>
          </a:custGeom>
          <a:solidFill>
            <a:srgbClr val="6D89AB"/>
          </a:solidFill>
          <a:ln w="9525" cmpd="sng" algn="ctr">
            <a:solidFill>
              <a:schemeClr val="bg1"/>
            </a:solidFill>
            <a:round/>
            <a:headEnd/>
            <a:tailEnd/>
          </a:ln>
        </p:spPr>
        <p:txBody>
          <a:bodyPr wrap="none" lIns="86393" tIns="43196" rIns="86393" bIns="43196" anchor="ctr"/>
          <a:lstStyle/>
          <a:p>
            <a:endParaRPr lang="en-CA"/>
          </a:p>
        </p:txBody>
      </p:sp>
    </p:spTree>
    <p:extLst>
      <p:ext uri="{BB962C8B-B14F-4D97-AF65-F5344CB8AC3E}">
        <p14:creationId xmlns="" xmlns:p14="http://schemas.microsoft.com/office/powerpoint/2010/main" val="23625528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52"/>
          <p:cNvGrpSpPr>
            <a:grpSpLocks/>
          </p:cNvGrpSpPr>
          <p:nvPr/>
        </p:nvGrpSpPr>
        <p:grpSpPr bwMode="auto">
          <a:xfrm>
            <a:off x="146672" y="1012086"/>
            <a:ext cx="8821737" cy="4321175"/>
            <a:chOff x="468" y="1162"/>
            <a:chExt cx="4725" cy="2650"/>
          </a:xfrm>
        </p:grpSpPr>
        <p:sp>
          <p:nvSpPr>
            <p:cNvPr id="1207308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68" y="1350"/>
              <a:ext cx="494" cy="281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09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58" y="1738"/>
              <a:ext cx="870" cy="485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0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283" y="2715"/>
              <a:ext cx="214" cy="372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11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472" y="3070"/>
              <a:ext cx="165" cy="712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12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12" y="2618"/>
              <a:ext cx="609" cy="758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13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743" y="1954"/>
              <a:ext cx="44" cy="31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FF33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4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427" y="1875"/>
              <a:ext cx="52" cy="101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5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478" y="1551"/>
              <a:ext cx="108" cy="170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pattFill prst="dkUpDiag">
              <a:fgClr>
                <a:srgbClr val="FF3300"/>
              </a:fgClr>
              <a:bgClr>
                <a:srgbClr val="009900"/>
              </a:bgClr>
            </a:patt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6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704" y="1742"/>
              <a:ext cx="107" cy="48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7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644" y="1647"/>
              <a:ext cx="807" cy="654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8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820" y="1358"/>
              <a:ext cx="139" cy="172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19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654" y="1621"/>
              <a:ext cx="115" cy="150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0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670" y="1783"/>
              <a:ext cx="158" cy="173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FF33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1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681" y="1889"/>
              <a:ext cx="21" cy="52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3" name="Group 19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4142" y="2557"/>
              <a:ext cx="298" cy="134"/>
              <a:chOff x="4488" y="2394"/>
              <a:chExt cx="358" cy="124"/>
            </a:xfrm>
            <a:solidFill>
              <a:srgbClr val="66FF99"/>
            </a:solidFill>
          </p:grpSpPr>
          <p:sp>
            <p:nvSpPr>
              <p:cNvPr id="388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389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207323" name="Freeform 2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896" y="1219"/>
              <a:ext cx="1931" cy="67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4" name="Freeform 23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432" y="1841"/>
              <a:ext cx="177" cy="156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5" name="Freeform 24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090" y="2306"/>
              <a:ext cx="131" cy="287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66FF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7" name="Line 26" descr="Horizontal dunkel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>
              <a:off x="670" y="1871"/>
              <a:ext cx="2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28" name="Freeform 27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72" y="1869"/>
              <a:ext cx="2" cy="35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29" name="Freeform 28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57" y="1903"/>
              <a:ext cx="15" cy="36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0" name="Freeform 29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492" y="1900"/>
              <a:ext cx="31" cy="36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1" name="Freeform 3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217" y="1621"/>
              <a:ext cx="551" cy="285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2" name="Freeform 31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362" y="1812"/>
              <a:ext cx="258" cy="157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3" name="Freeform 32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611" y="2444"/>
              <a:ext cx="187" cy="182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4" name="Freeform 33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3142" y="2359"/>
              <a:ext cx="96" cy="107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5" name="Freeform 34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803" y="1732"/>
              <a:ext cx="79" cy="36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36" name="Freeform 35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347" y="2186"/>
              <a:ext cx="12" cy="36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7" name="Freeform 36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422" y="2189"/>
              <a:ext cx="9" cy="36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38" name="Freeform 3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359" y="2605"/>
              <a:ext cx="28" cy="36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2" name="Freeform 4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1524" y="2355"/>
              <a:ext cx="20" cy="37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3" name="Freeform 42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1559" y="2359"/>
              <a:ext cx="1" cy="37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4" name="Freeform 4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567" y="2360"/>
              <a:ext cx="4" cy="37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5" name="Freeform 44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576" y="2354"/>
              <a:ext cx="5" cy="36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6" name="Freeform 45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563" y="2349"/>
              <a:ext cx="7" cy="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7" name="Freeform 4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1594" y="2367"/>
              <a:ext cx="9" cy="38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48" name="Line 47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 flipH="1" flipV="1">
              <a:off x="1599" y="2365"/>
              <a:ext cx="4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49" name="Line 48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 flipH="1">
              <a:off x="1599" y="2381"/>
              <a:ext cx="4" cy="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50" name="Freeform 4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1599" y="2378"/>
              <a:ext cx="7" cy="37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1" name="Freeform 5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603" y="2396"/>
              <a:ext cx="11" cy="35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2" name="Freeform 5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1607" y="2426"/>
              <a:ext cx="10" cy="36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3" name="Freeform 5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613" y="2442"/>
              <a:ext cx="2" cy="36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4" name="Freeform 5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1627" y="2461"/>
              <a:ext cx="1" cy="35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5" name="Freeform 5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603" y="2469"/>
              <a:ext cx="10" cy="37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6" name="Freeform 5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594" y="2510"/>
              <a:ext cx="15" cy="36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7" name="Freeform 56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606" y="2495"/>
              <a:ext cx="8" cy="36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58" name="Freeform 57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280" y="2288"/>
              <a:ext cx="10" cy="36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4" name="Group 58"/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1359" y="2183"/>
              <a:ext cx="83" cy="123"/>
              <a:chOff x="1199" y="2121"/>
              <a:chExt cx="97" cy="123"/>
            </a:xfrm>
          </p:grpSpPr>
          <p:sp>
            <p:nvSpPr>
              <p:cNvPr id="1207360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1 w 52"/>
                  <a:gd name="T15" fmla="*/ 0 h 25"/>
                  <a:gd name="T16" fmla="*/ 1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1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2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1 w 67"/>
                  <a:gd name="T21" fmla="*/ 0 h 86"/>
                  <a:gd name="T22" fmla="*/ 1 w 67"/>
                  <a:gd name="T23" fmla="*/ 1 h 86"/>
                  <a:gd name="T24" fmla="*/ 1 w 67"/>
                  <a:gd name="T25" fmla="*/ 1 h 86"/>
                  <a:gd name="T26" fmla="*/ 1 w 67"/>
                  <a:gd name="T27" fmla="*/ 1 h 86"/>
                  <a:gd name="T28" fmla="*/ 1 w 67"/>
                  <a:gd name="T29" fmla="*/ 1 h 86"/>
                  <a:gd name="T30" fmla="*/ 1 w 67"/>
                  <a:gd name="T31" fmla="*/ 1 h 86"/>
                  <a:gd name="T32" fmla="*/ 0 w 67"/>
                  <a:gd name="T33" fmla="*/ 1 h 86"/>
                  <a:gd name="T34" fmla="*/ 0 w 67"/>
                  <a:gd name="T35" fmla="*/ 1 h 86"/>
                  <a:gd name="T36" fmla="*/ 0 w 67"/>
                  <a:gd name="T37" fmla="*/ 1 h 86"/>
                  <a:gd name="T38" fmla="*/ 0 w 67"/>
                  <a:gd name="T39" fmla="*/ 1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3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1 h 86"/>
                  <a:gd name="T18" fmla="*/ 0 w 49"/>
                  <a:gd name="T19" fmla="*/ 1 h 86"/>
                  <a:gd name="T20" fmla="*/ 0 w 49"/>
                  <a:gd name="T21" fmla="*/ 1 h 86"/>
                  <a:gd name="T22" fmla="*/ 0 w 49"/>
                  <a:gd name="T23" fmla="*/ 1 h 86"/>
                  <a:gd name="T24" fmla="*/ 0 w 49"/>
                  <a:gd name="T25" fmla="*/ 1 h 86"/>
                  <a:gd name="T26" fmla="*/ 0 w 49"/>
                  <a:gd name="T27" fmla="*/ 1 h 86"/>
                  <a:gd name="T28" fmla="*/ 0 w 49"/>
                  <a:gd name="T29" fmla="*/ 1 h 86"/>
                  <a:gd name="T30" fmla="*/ 0 w 49"/>
                  <a:gd name="T31" fmla="*/ 1 h 86"/>
                  <a:gd name="T32" fmla="*/ 0 w 49"/>
                  <a:gd name="T33" fmla="*/ 1 h 86"/>
                  <a:gd name="T34" fmla="*/ 1 w 49"/>
                  <a:gd name="T35" fmla="*/ 1 h 86"/>
                  <a:gd name="T36" fmla="*/ 1 w 49"/>
                  <a:gd name="T37" fmla="*/ 1 h 86"/>
                  <a:gd name="T38" fmla="*/ 1 w 49"/>
                  <a:gd name="T39" fmla="*/ 0 h 86"/>
                  <a:gd name="T40" fmla="*/ 1 w 49"/>
                  <a:gd name="T41" fmla="*/ 0 h 86"/>
                  <a:gd name="T42" fmla="*/ 1 w 49"/>
                  <a:gd name="T43" fmla="*/ 0 h 86"/>
                  <a:gd name="T44" fmla="*/ 1 w 49"/>
                  <a:gd name="T45" fmla="*/ 0 h 86"/>
                  <a:gd name="T46" fmla="*/ 1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4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5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1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6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1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7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8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1 h 55"/>
                  <a:gd name="T14" fmla="*/ 0 w 34"/>
                  <a:gd name="T15" fmla="*/ 1 h 55"/>
                  <a:gd name="T16" fmla="*/ 0 w 34"/>
                  <a:gd name="T17" fmla="*/ 1 h 55"/>
                  <a:gd name="T18" fmla="*/ 0 w 34"/>
                  <a:gd name="T19" fmla="*/ 1 h 55"/>
                  <a:gd name="T20" fmla="*/ 0 w 34"/>
                  <a:gd name="T21" fmla="*/ 1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69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370" name="Freeform 6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5021" y="3082"/>
              <a:ext cx="8" cy="36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71" name="Freeform 7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5027" y="3139"/>
              <a:ext cx="6" cy="37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72" name="Freeform 7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5099" y="3082"/>
              <a:ext cx="49" cy="82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73" name="Freeform 72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5099" y="3065"/>
              <a:ext cx="9" cy="36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5" name="Group 73"/>
            <p:cNvGrpSpPr>
              <a:grpSpLocks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4904" y="3393"/>
              <a:ext cx="289" cy="255"/>
              <a:chOff x="5372" y="3323"/>
              <a:chExt cx="341" cy="253"/>
            </a:xfrm>
          </p:grpSpPr>
          <p:sp>
            <p:nvSpPr>
              <p:cNvPr id="1207375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1 w 53"/>
                  <a:gd name="T17" fmla="*/ 0 h 33"/>
                  <a:gd name="T18" fmla="*/ 1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76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3 h 358"/>
                  <a:gd name="T2" fmla="*/ 1 w 631"/>
                  <a:gd name="T3" fmla="*/ 3 h 358"/>
                  <a:gd name="T4" fmla="*/ 1 w 631"/>
                  <a:gd name="T5" fmla="*/ 3 h 358"/>
                  <a:gd name="T6" fmla="*/ 1 w 631"/>
                  <a:gd name="T7" fmla="*/ 3 h 358"/>
                  <a:gd name="T8" fmla="*/ 1 w 631"/>
                  <a:gd name="T9" fmla="*/ 3 h 358"/>
                  <a:gd name="T10" fmla="*/ 1 w 631"/>
                  <a:gd name="T11" fmla="*/ 3 h 358"/>
                  <a:gd name="T12" fmla="*/ 1 w 631"/>
                  <a:gd name="T13" fmla="*/ 3 h 358"/>
                  <a:gd name="T14" fmla="*/ 2 w 631"/>
                  <a:gd name="T15" fmla="*/ 3 h 358"/>
                  <a:gd name="T16" fmla="*/ 2 w 631"/>
                  <a:gd name="T17" fmla="*/ 2 h 358"/>
                  <a:gd name="T18" fmla="*/ 2 w 631"/>
                  <a:gd name="T19" fmla="*/ 2 h 358"/>
                  <a:gd name="T20" fmla="*/ 3 w 631"/>
                  <a:gd name="T21" fmla="*/ 2 h 358"/>
                  <a:gd name="T22" fmla="*/ 4 w 631"/>
                  <a:gd name="T23" fmla="*/ 2 h 358"/>
                  <a:gd name="T24" fmla="*/ 4 w 631"/>
                  <a:gd name="T25" fmla="*/ 2 h 358"/>
                  <a:gd name="T26" fmla="*/ 4 w 631"/>
                  <a:gd name="T27" fmla="*/ 2 h 358"/>
                  <a:gd name="T28" fmla="*/ 4 w 631"/>
                  <a:gd name="T29" fmla="*/ 2 h 358"/>
                  <a:gd name="T30" fmla="*/ 4 w 631"/>
                  <a:gd name="T31" fmla="*/ 1 h 358"/>
                  <a:gd name="T32" fmla="*/ 5 w 631"/>
                  <a:gd name="T33" fmla="*/ 1 h 358"/>
                  <a:gd name="T34" fmla="*/ 5 w 631"/>
                  <a:gd name="T35" fmla="*/ 1 h 358"/>
                  <a:gd name="T36" fmla="*/ 5 w 631"/>
                  <a:gd name="T37" fmla="*/ 1 h 358"/>
                  <a:gd name="T38" fmla="*/ 6 w 631"/>
                  <a:gd name="T39" fmla="*/ 0 h 358"/>
                  <a:gd name="T40" fmla="*/ 6 w 631"/>
                  <a:gd name="T41" fmla="*/ 0 h 358"/>
                  <a:gd name="T42" fmla="*/ 6 w 631"/>
                  <a:gd name="T43" fmla="*/ 0 h 358"/>
                  <a:gd name="T44" fmla="*/ 6 w 631"/>
                  <a:gd name="T45" fmla="*/ 0 h 358"/>
                  <a:gd name="T46" fmla="*/ 6 w 631"/>
                  <a:gd name="T47" fmla="*/ 0 h 358"/>
                  <a:gd name="T48" fmla="*/ 6 w 631"/>
                  <a:gd name="T49" fmla="*/ 1 h 358"/>
                  <a:gd name="T50" fmla="*/ 6 w 631"/>
                  <a:gd name="T51" fmla="*/ 1 h 358"/>
                  <a:gd name="T52" fmla="*/ 6 w 631"/>
                  <a:gd name="T53" fmla="*/ 1 h 358"/>
                  <a:gd name="T54" fmla="*/ 5 w 631"/>
                  <a:gd name="T55" fmla="*/ 2 h 358"/>
                  <a:gd name="T56" fmla="*/ 5 w 631"/>
                  <a:gd name="T57" fmla="*/ 2 h 358"/>
                  <a:gd name="T58" fmla="*/ 4 w 631"/>
                  <a:gd name="T59" fmla="*/ 2 h 358"/>
                  <a:gd name="T60" fmla="*/ 4 w 631"/>
                  <a:gd name="T61" fmla="*/ 2 h 358"/>
                  <a:gd name="T62" fmla="*/ 4 w 631"/>
                  <a:gd name="T63" fmla="*/ 2 h 358"/>
                  <a:gd name="T64" fmla="*/ 4 w 631"/>
                  <a:gd name="T65" fmla="*/ 2 h 358"/>
                  <a:gd name="T66" fmla="*/ 4 w 631"/>
                  <a:gd name="T67" fmla="*/ 3 h 358"/>
                  <a:gd name="T68" fmla="*/ 4 w 631"/>
                  <a:gd name="T69" fmla="*/ 3 h 358"/>
                  <a:gd name="T70" fmla="*/ 4 w 631"/>
                  <a:gd name="T71" fmla="*/ 2 h 358"/>
                  <a:gd name="T72" fmla="*/ 3 w 631"/>
                  <a:gd name="T73" fmla="*/ 3 h 358"/>
                  <a:gd name="T74" fmla="*/ 3 w 631"/>
                  <a:gd name="T75" fmla="*/ 3 h 358"/>
                  <a:gd name="T76" fmla="*/ 2 w 631"/>
                  <a:gd name="T77" fmla="*/ 4 h 358"/>
                  <a:gd name="T78" fmla="*/ 2 w 631"/>
                  <a:gd name="T79" fmla="*/ 4 h 358"/>
                  <a:gd name="T80" fmla="*/ 1 w 631"/>
                  <a:gd name="T81" fmla="*/ 4 h 358"/>
                  <a:gd name="T82" fmla="*/ 1 w 631"/>
                  <a:gd name="T83" fmla="*/ 4 h 358"/>
                  <a:gd name="T84" fmla="*/ 1 w 631"/>
                  <a:gd name="T85" fmla="*/ 4 h 358"/>
                  <a:gd name="T86" fmla="*/ 0 w 631"/>
                  <a:gd name="T87" fmla="*/ 4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77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 w 359"/>
                  <a:gd name="T1" fmla="*/ 3 h 431"/>
                  <a:gd name="T2" fmla="*/ 1 w 359"/>
                  <a:gd name="T3" fmla="*/ 3 h 431"/>
                  <a:gd name="T4" fmla="*/ 2 w 359"/>
                  <a:gd name="T5" fmla="*/ 2 h 431"/>
                  <a:gd name="T6" fmla="*/ 2 w 359"/>
                  <a:gd name="T7" fmla="*/ 2 h 431"/>
                  <a:gd name="T8" fmla="*/ 2 w 359"/>
                  <a:gd name="T9" fmla="*/ 2 h 431"/>
                  <a:gd name="T10" fmla="*/ 2 w 359"/>
                  <a:gd name="T11" fmla="*/ 2 h 431"/>
                  <a:gd name="T12" fmla="*/ 2 w 359"/>
                  <a:gd name="T13" fmla="*/ 1 h 431"/>
                  <a:gd name="T14" fmla="*/ 2 w 359"/>
                  <a:gd name="T15" fmla="*/ 1 h 431"/>
                  <a:gd name="T16" fmla="*/ 2 w 359"/>
                  <a:gd name="T17" fmla="*/ 0 h 431"/>
                  <a:gd name="T18" fmla="*/ 2 w 359"/>
                  <a:gd name="T19" fmla="*/ 0 h 431"/>
                  <a:gd name="T20" fmla="*/ 2 w 359"/>
                  <a:gd name="T21" fmla="*/ 0 h 431"/>
                  <a:gd name="T22" fmla="*/ 2 w 359"/>
                  <a:gd name="T23" fmla="*/ 0 h 431"/>
                  <a:gd name="T24" fmla="*/ 3 w 359"/>
                  <a:gd name="T25" fmla="*/ 1 h 431"/>
                  <a:gd name="T26" fmla="*/ 3 w 359"/>
                  <a:gd name="T27" fmla="*/ 1 h 431"/>
                  <a:gd name="T28" fmla="*/ 3 w 359"/>
                  <a:gd name="T29" fmla="*/ 1 h 431"/>
                  <a:gd name="T30" fmla="*/ 3 w 359"/>
                  <a:gd name="T31" fmla="*/ 1 h 431"/>
                  <a:gd name="T32" fmla="*/ 2 w 359"/>
                  <a:gd name="T33" fmla="*/ 1 h 431"/>
                  <a:gd name="T34" fmla="*/ 2 w 359"/>
                  <a:gd name="T35" fmla="*/ 2 h 431"/>
                  <a:gd name="T36" fmla="*/ 2 w 359"/>
                  <a:gd name="T37" fmla="*/ 2 h 431"/>
                  <a:gd name="T38" fmla="*/ 2 w 359"/>
                  <a:gd name="T39" fmla="*/ 2 h 431"/>
                  <a:gd name="T40" fmla="*/ 3 w 359"/>
                  <a:gd name="T41" fmla="*/ 2 h 431"/>
                  <a:gd name="T42" fmla="*/ 3 w 359"/>
                  <a:gd name="T43" fmla="*/ 2 h 431"/>
                  <a:gd name="T44" fmla="*/ 3 w 359"/>
                  <a:gd name="T45" fmla="*/ 2 h 431"/>
                  <a:gd name="T46" fmla="*/ 3 w 359"/>
                  <a:gd name="T47" fmla="*/ 2 h 431"/>
                  <a:gd name="T48" fmla="*/ 3 w 359"/>
                  <a:gd name="T49" fmla="*/ 2 h 431"/>
                  <a:gd name="T50" fmla="*/ 3 w 359"/>
                  <a:gd name="T51" fmla="*/ 3 h 431"/>
                  <a:gd name="T52" fmla="*/ 3 w 359"/>
                  <a:gd name="T53" fmla="*/ 3 h 431"/>
                  <a:gd name="T54" fmla="*/ 4 w 359"/>
                  <a:gd name="T55" fmla="*/ 2 h 431"/>
                  <a:gd name="T56" fmla="*/ 4 w 359"/>
                  <a:gd name="T57" fmla="*/ 2 h 431"/>
                  <a:gd name="T58" fmla="*/ 4 w 359"/>
                  <a:gd name="T59" fmla="*/ 2 h 431"/>
                  <a:gd name="T60" fmla="*/ 4 w 359"/>
                  <a:gd name="T61" fmla="*/ 3 h 431"/>
                  <a:gd name="T62" fmla="*/ 4 w 359"/>
                  <a:gd name="T63" fmla="*/ 3 h 431"/>
                  <a:gd name="T64" fmla="*/ 3 w 359"/>
                  <a:gd name="T65" fmla="*/ 3 h 431"/>
                  <a:gd name="T66" fmla="*/ 3 w 359"/>
                  <a:gd name="T67" fmla="*/ 3 h 431"/>
                  <a:gd name="T68" fmla="*/ 2 w 359"/>
                  <a:gd name="T69" fmla="*/ 3 h 431"/>
                  <a:gd name="T70" fmla="*/ 2 w 359"/>
                  <a:gd name="T71" fmla="*/ 4 h 431"/>
                  <a:gd name="T72" fmla="*/ 2 w 359"/>
                  <a:gd name="T73" fmla="*/ 4 h 431"/>
                  <a:gd name="T74" fmla="*/ 2 w 359"/>
                  <a:gd name="T75" fmla="*/ 4 h 431"/>
                  <a:gd name="T76" fmla="*/ 1 w 359"/>
                  <a:gd name="T77" fmla="*/ 5 h 431"/>
                  <a:gd name="T78" fmla="*/ 1 w 359"/>
                  <a:gd name="T79" fmla="*/ 5 h 431"/>
                  <a:gd name="T80" fmla="*/ 0 w 359"/>
                  <a:gd name="T81" fmla="*/ 5 h 431"/>
                  <a:gd name="T82" fmla="*/ 0 w 359"/>
                  <a:gd name="T83" fmla="*/ 5 h 431"/>
                  <a:gd name="T84" fmla="*/ 0 w 359"/>
                  <a:gd name="T85" fmla="*/ 5 h 431"/>
                  <a:gd name="T86" fmla="*/ 0 w 359"/>
                  <a:gd name="T87" fmla="*/ 5 h 431"/>
                  <a:gd name="T88" fmla="*/ 0 w 359"/>
                  <a:gd name="T89" fmla="*/ 5 h 431"/>
                  <a:gd name="T90" fmla="*/ 1 w 359"/>
                  <a:gd name="T91" fmla="*/ 4 h 431"/>
                  <a:gd name="T92" fmla="*/ 1 w 359"/>
                  <a:gd name="T93" fmla="*/ 4 h 431"/>
                  <a:gd name="T94" fmla="*/ 1 w 359"/>
                  <a:gd name="T95" fmla="*/ 4 h 431"/>
                  <a:gd name="T96" fmla="*/ 1 w 359"/>
                  <a:gd name="T97" fmla="*/ 4 h 431"/>
                  <a:gd name="T98" fmla="*/ 1 w 359"/>
                  <a:gd name="T99" fmla="*/ 4 h 431"/>
                  <a:gd name="T100" fmla="*/ 0 w 359"/>
                  <a:gd name="T101" fmla="*/ 4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378" name="Freeform 77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679" y="2547"/>
              <a:ext cx="6" cy="36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79" name="Freeform 78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137" y="3115"/>
              <a:ext cx="9" cy="36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0" name="Freeform 79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151" y="3121"/>
              <a:ext cx="11" cy="37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1" name="Freeform 80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719" y="2540"/>
              <a:ext cx="1" cy="35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2" name="Freeform 81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756" y="2505"/>
              <a:ext cx="4" cy="36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3" name="Freeform 82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827" y="2435"/>
              <a:ext cx="3" cy="36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4" name="Freeform 83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923" y="2875"/>
              <a:ext cx="17" cy="37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5" name="Freeform 84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963" y="2884"/>
              <a:ext cx="8" cy="36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6" name="Freeform 85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873" y="2743"/>
              <a:ext cx="16" cy="35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7" name="Freeform 86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837" y="2727"/>
              <a:ext cx="7" cy="36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8" name="Freeform 87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963" y="2936"/>
              <a:ext cx="20" cy="36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89" name="Freeform 88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935" y="2929"/>
              <a:ext cx="14" cy="36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90" name="Line 89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4956" y="2920"/>
              <a:ext cx="13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391" name="Freeform 90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969" y="2924"/>
              <a:ext cx="1" cy="36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92" name="Freeform 91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940" y="2920"/>
              <a:ext cx="9" cy="37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93" name="Freeform 92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4936" y="2908"/>
              <a:ext cx="4" cy="38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394" name="Freeform 93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987" y="2736"/>
              <a:ext cx="1" cy="36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6" name="Group 94"/>
            <p:cNvGrpSpPr>
              <a:grpSpLocks/>
            </p:cNvGrpSpPr>
            <p:nvPr>
              <p:custDataLst>
                <p:tags r:id="rId71"/>
              </p:custDataLst>
            </p:nvPr>
          </p:nvGrpSpPr>
          <p:grpSpPr bwMode="auto">
            <a:xfrm>
              <a:off x="4908" y="2529"/>
              <a:ext cx="103" cy="72"/>
              <a:chOff x="5379" y="2466"/>
              <a:chExt cx="122" cy="71"/>
            </a:xfrm>
          </p:grpSpPr>
          <p:sp>
            <p:nvSpPr>
              <p:cNvPr id="1207396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97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98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399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00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0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02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0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04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405" name="Freeform 104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016" y="2442"/>
              <a:ext cx="4" cy="36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08" name="Freeform 10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4870" y="1654"/>
              <a:ext cx="13" cy="36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09" name="Freeform 108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4981" y="1675"/>
              <a:ext cx="10" cy="36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0" name="Freeform 109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634" y="1820"/>
              <a:ext cx="3" cy="37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1" name="Freeform 11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517" y="2174"/>
              <a:ext cx="9" cy="37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2" name="Freeform 11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528" y="2133"/>
              <a:ext cx="10" cy="36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3" name="Freeform 11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458" y="2038"/>
              <a:ext cx="1" cy="38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4" name="Freeform 11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2475" y="1488"/>
              <a:ext cx="6" cy="36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5" name="Freeform 11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2466" y="1342"/>
              <a:ext cx="2" cy="36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6" name="Freeform 11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399" y="2462"/>
              <a:ext cx="16" cy="35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17" name="Freeform 116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212" y="2375"/>
              <a:ext cx="12" cy="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7" name="Group 117"/>
            <p:cNvGrpSpPr>
              <a:grpSpLocks/>
            </p:cNvGrpSpPr>
            <p:nvPr>
              <p:custDataLst>
                <p:tags r:id="rId83"/>
              </p:custDataLst>
            </p:nvPr>
          </p:nvGrpSpPr>
          <p:grpSpPr bwMode="auto">
            <a:xfrm>
              <a:off x="3698" y="2493"/>
              <a:ext cx="29" cy="236"/>
              <a:chOff x="3950" y="2430"/>
              <a:chExt cx="36" cy="234"/>
            </a:xfrm>
          </p:grpSpPr>
          <p:sp>
            <p:nvSpPr>
              <p:cNvPr id="120741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algn="l">
                  <a:lnSpc>
                    <a:spcPct val="105000"/>
                  </a:lnSpc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algn="l">
                  <a:lnSpc>
                    <a:spcPct val="95000"/>
                  </a:lnSpc>
                  <a:buFont typeface="Wingdings" panose="05000000000000000000" pitchFamily="2" charset="2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algn="l">
                  <a:lnSpc>
                    <a:spcPct val="95000"/>
                  </a:lnSpc>
                  <a:buFont typeface="Wingdings" panose="05000000000000000000" pitchFamily="2" charset="2"/>
                  <a:buChar char="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algn="l">
                  <a:spcBef>
                    <a:spcPct val="20000"/>
                  </a:spcBef>
                  <a:buFont typeface="Verdana" panose="020B0604030504040204" pitchFamily="34" charset="0"/>
                  <a:buChar char="›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4pPr>
                <a:lvl5pPr marL="2057400" indent="-228600" algn="l">
                  <a:spcBef>
                    <a:spcPct val="20000"/>
                  </a:spcBef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5pPr>
                <a:lvl6pPr marL="25146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FontTx/>
                  <a:buNone/>
                </a:pPr>
                <a:endParaRPr lang="en-US" altLang="de-DE" sz="1800">
                  <a:cs typeface="Arial" panose="020B0604020202020204" pitchFamily="34" charset="0"/>
                </a:endParaRPr>
              </a:p>
            </p:txBody>
          </p:sp>
          <p:sp>
            <p:nvSpPr>
              <p:cNvPr id="120742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2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algn="l">
                  <a:lnSpc>
                    <a:spcPct val="105000"/>
                  </a:lnSpc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algn="l">
                  <a:lnSpc>
                    <a:spcPct val="95000"/>
                  </a:lnSpc>
                  <a:buFont typeface="Wingdings" panose="05000000000000000000" pitchFamily="2" charset="2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algn="l">
                  <a:lnSpc>
                    <a:spcPct val="95000"/>
                  </a:lnSpc>
                  <a:buFont typeface="Wingdings" panose="05000000000000000000" pitchFamily="2" charset="2"/>
                  <a:buChar char="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algn="l">
                  <a:spcBef>
                    <a:spcPct val="20000"/>
                  </a:spcBef>
                  <a:buFont typeface="Verdana" panose="020B0604030504040204" pitchFamily="34" charset="0"/>
                  <a:buChar char="›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4pPr>
                <a:lvl5pPr marL="2057400" indent="-228600" algn="l">
                  <a:spcBef>
                    <a:spcPct val="20000"/>
                  </a:spcBef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5pPr>
                <a:lvl6pPr marL="25146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Verdana" panose="020B0604030504040204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buFontTx/>
                  <a:buNone/>
                </a:pPr>
                <a:endParaRPr lang="en-US" altLang="de-DE" sz="1800">
                  <a:cs typeface="Arial" panose="020B0604020202020204" pitchFamily="34" charset="0"/>
                </a:endParaRPr>
              </a:p>
            </p:txBody>
          </p:sp>
          <p:sp>
            <p:nvSpPr>
              <p:cNvPr id="120743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3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4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8" name="Group 149"/>
            <p:cNvGrpSpPr>
              <a:grpSpLocks/>
            </p:cNvGrpSpPr>
            <p:nvPr>
              <p:custDataLst>
                <p:tags r:id="rId84"/>
              </p:custDataLst>
            </p:nvPr>
          </p:nvGrpSpPr>
          <p:grpSpPr bwMode="auto">
            <a:xfrm>
              <a:off x="4999" y="2808"/>
              <a:ext cx="117" cy="135"/>
              <a:chOff x="5486" y="2743"/>
              <a:chExt cx="137" cy="132"/>
            </a:xfrm>
          </p:grpSpPr>
          <p:sp>
            <p:nvSpPr>
              <p:cNvPr id="1207451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1 h 87"/>
                  <a:gd name="T4" fmla="*/ 0 w 40"/>
                  <a:gd name="T5" fmla="*/ 1 h 87"/>
                  <a:gd name="T6" fmla="*/ 0 w 40"/>
                  <a:gd name="T7" fmla="*/ 1 h 87"/>
                  <a:gd name="T8" fmla="*/ 0 w 40"/>
                  <a:gd name="T9" fmla="*/ 1 h 87"/>
                  <a:gd name="T10" fmla="*/ 0 w 40"/>
                  <a:gd name="T11" fmla="*/ 1 h 87"/>
                  <a:gd name="T12" fmla="*/ 0 w 40"/>
                  <a:gd name="T13" fmla="*/ 1 h 87"/>
                  <a:gd name="T14" fmla="*/ 0 w 40"/>
                  <a:gd name="T15" fmla="*/ 1 h 87"/>
                  <a:gd name="T16" fmla="*/ 0 w 40"/>
                  <a:gd name="T17" fmla="*/ 1 h 87"/>
                  <a:gd name="T18" fmla="*/ 0 w 40"/>
                  <a:gd name="T19" fmla="*/ 1 h 87"/>
                  <a:gd name="T20" fmla="*/ 0 w 40"/>
                  <a:gd name="T21" fmla="*/ 1 h 87"/>
                  <a:gd name="T22" fmla="*/ 0 w 40"/>
                  <a:gd name="T23" fmla="*/ 1 h 87"/>
                  <a:gd name="T24" fmla="*/ 0 w 40"/>
                  <a:gd name="T25" fmla="*/ 1 h 87"/>
                  <a:gd name="T26" fmla="*/ 0 w 40"/>
                  <a:gd name="T27" fmla="*/ 1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2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1 w 61"/>
                  <a:gd name="T7" fmla="*/ 0 h 37"/>
                  <a:gd name="T8" fmla="*/ 1 w 61"/>
                  <a:gd name="T9" fmla="*/ 0 h 37"/>
                  <a:gd name="T10" fmla="*/ 1 w 61"/>
                  <a:gd name="T11" fmla="*/ 0 h 37"/>
                  <a:gd name="T12" fmla="*/ 1 w 61"/>
                  <a:gd name="T13" fmla="*/ 0 h 37"/>
                  <a:gd name="T14" fmla="*/ 1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3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4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1 w 74"/>
                  <a:gd name="T1" fmla="*/ 1 h 80"/>
                  <a:gd name="T2" fmla="*/ 1 w 74"/>
                  <a:gd name="T3" fmla="*/ 1 h 80"/>
                  <a:gd name="T4" fmla="*/ 1 w 74"/>
                  <a:gd name="T5" fmla="*/ 1 h 80"/>
                  <a:gd name="T6" fmla="*/ 1 w 74"/>
                  <a:gd name="T7" fmla="*/ 1 h 80"/>
                  <a:gd name="T8" fmla="*/ 1 w 74"/>
                  <a:gd name="T9" fmla="*/ 1 h 80"/>
                  <a:gd name="T10" fmla="*/ 1 w 74"/>
                  <a:gd name="T11" fmla="*/ 1 h 80"/>
                  <a:gd name="T12" fmla="*/ 1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1 h 80"/>
                  <a:gd name="T40" fmla="*/ 0 w 74"/>
                  <a:gd name="T41" fmla="*/ 1 h 80"/>
                  <a:gd name="T42" fmla="*/ 0 w 74"/>
                  <a:gd name="T43" fmla="*/ 1 h 80"/>
                  <a:gd name="T44" fmla="*/ 0 w 74"/>
                  <a:gd name="T45" fmla="*/ 1 h 80"/>
                  <a:gd name="T46" fmla="*/ 0 w 74"/>
                  <a:gd name="T47" fmla="*/ 1 h 80"/>
                  <a:gd name="T48" fmla="*/ 0 w 74"/>
                  <a:gd name="T49" fmla="*/ 1 h 80"/>
                  <a:gd name="T50" fmla="*/ 1 w 74"/>
                  <a:gd name="T51" fmla="*/ 1 h 80"/>
                  <a:gd name="T52" fmla="*/ 1 w 74"/>
                  <a:gd name="T53" fmla="*/ 1 h 80"/>
                  <a:gd name="T54" fmla="*/ 1 w 74"/>
                  <a:gd name="T55" fmla="*/ 1 h 80"/>
                  <a:gd name="T56" fmla="*/ 1 w 74"/>
                  <a:gd name="T57" fmla="*/ 1 h 80"/>
                  <a:gd name="T58" fmla="*/ 1 w 74"/>
                  <a:gd name="T59" fmla="*/ 1 h 80"/>
                  <a:gd name="T60" fmla="*/ 1 w 74"/>
                  <a:gd name="T61" fmla="*/ 1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5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 w 86"/>
                  <a:gd name="T1" fmla="*/ 1 h 80"/>
                  <a:gd name="T2" fmla="*/ 1 w 86"/>
                  <a:gd name="T3" fmla="*/ 1 h 80"/>
                  <a:gd name="T4" fmla="*/ 1 w 86"/>
                  <a:gd name="T5" fmla="*/ 1 h 80"/>
                  <a:gd name="T6" fmla="*/ 1 w 86"/>
                  <a:gd name="T7" fmla="*/ 1 h 80"/>
                  <a:gd name="T8" fmla="*/ 1 w 86"/>
                  <a:gd name="T9" fmla="*/ 1 h 80"/>
                  <a:gd name="T10" fmla="*/ 1 w 86"/>
                  <a:gd name="T11" fmla="*/ 1 h 80"/>
                  <a:gd name="T12" fmla="*/ 1 w 86"/>
                  <a:gd name="T13" fmla="*/ 1 h 80"/>
                  <a:gd name="T14" fmla="*/ 1 w 86"/>
                  <a:gd name="T15" fmla="*/ 1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1 h 80"/>
                  <a:gd name="T34" fmla="*/ 0 w 86"/>
                  <a:gd name="T35" fmla="*/ 1 h 80"/>
                  <a:gd name="T36" fmla="*/ 0 w 86"/>
                  <a:gd name="T37" fmla="*/ 1 h 80"/>
                  <a:gd name="T38" fmla="*/ 0 w 86"/>
                  <a:gd name="T39" fmla="*/ 1 h 80"/>
                  <a:gd name="T40" fmla="*/ 0 w 86"/>
                  <a:gd name="T41" fmla="*/ 1 h 80"/>
                  <a:gd name="T42" fmla="*/ 1 w 86"/>
                  <a:gd name="T43" fmla="*/ 1 h 80"/>
                  <a:gd name="T44" fmla="*/ 1 w 86"/>
                  <a:gd name="T45" fmla="*/ 1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6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1 w 74"/>
                  <a:gd name="T19" fmla="*/ 0 h 31"/>
                  <a:gd name="T20" fmla="*/ 1 w 74"/>
                  <a:gd name="T21" fmla="*/ 0 h 31"/>
                  <a:gd name="T22" fmla="*/ 1 w 74"/>
                  <a:gd name="T23" fmla="*/ 0 h 31"/>
                  <a:gd name="T24" fmla="*/ 1 w 74"/>
                  <a:gd name="T25" fmla="*/ 0 h 31"/>
                  <a:gd name="T26" fmla="*/ 1 w 74"/>
                  <a:gd name="T27" fmla="*/ 0 h 31"/>
                  <a:gd name="T28" fmla="*/ 1 w 74"/>
                  <a:gd name="T29" fmla="*/ 0 h 31"/>
                  <a:gd name="T30" fmla="*/ 1 w 74"/>
                  <a:gd name="T31" fmla="*/ 0 h 31"/>
                  <a:gd name="T32" fmla="*/ 1 w 74"/>
                  <a:gd name="T33" fmla="*/ 0 h 31"/>
                  <a:gd name="T34" fmla="*/ 1 w 74"/>
                  <a:gd name="T35" fmla="*/ 0 h 31"/>
                  <a:gd name="T36" fmla="*/ 1 w 74"/>
                  <a:gd name="T37" fmla="*/ 0 h 31"/>
                  <a:gd name="T38" fmla="*/ 1 w 74"/>
                  <a:gd name="T39" fmla="*/ 0 h 31"/>
                  <a:gd name="T40" fmla="*/ 1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7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8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1 w 100"/>
                  <a:gd name="T5" fmla="*/ 1 h 65"/>
                  <a:gd name="T6" fmla="*/ 1 w 100"/>
                  <a:gd name="T7" fmla="*/ 1 h 65"/>
                  <a:gd name="T8" fmla="*/ 1 w 100"/>
                  <a:gd name="T9" fmla="*/ 1 h 65"/>
                  <a:gd name="T10" fmla="*/ 1 w 100"/>
                  <a:gd name="T11" fmla="*/ 1 h 65"/>
                  <a:gd name="T12" fmla="*/ 1 w 100"/>
                  <a:gd name="T13" fmla="*/ 1 h 65"/>
                  <a:gd name="T14" fmla="*/ 1 w 100"/>
                  <a:gd name="T15" fmla="*/ 1 h 65"/>
                  <a:gd name="T16" fmla="*/ 1 w 100"/>
                  <a:gd name="T17" fmla="*/ 1 h 65"/>
                  <a:gd name="T18" fmla="*/ 1 w 100"/>
                  <a:gd name="T19" fmla="*/ 1 h 65"/>
                  <a:gd name="T20" fmla="*/ 1 w 100"/>
                  <a:gd name="T21" fmla="*/ 1 h 65"/>
                  <a:gd name="T22" fmla="*/ 1 w 100"/>
                  <a:gd name="T23" fmla="*/ 1 h 65"/>
                  <a:gd name="T24" fmla="*/ 1 w 100"/>
                  <a:gd name="T25" fmla="*/ 1 h 65"/>
                  <a:gd name="T26" fmla="*/ 1 w 100"/>
                  <a:gd name="T27" fmla="*/ 0 h 65"/>
                  <a:gd name="T28" fmla="*/ 1 w 100"/>
                  <a:gd name="T29" fmla="*/ 0 h 65"/>
                  <a:gd name="T30" fmla="*/ 1 w 100"/>
                  <a:gd name="T31" fmla="*/ 0 h 65"/>
                  <a:gd name="T32" fmla="*/ 1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59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1 w 79"/>
                  <a:gd name="T1" fmla="*/ 1 h 104"/>
                  <a:gd name="T2" fmla="*/ 1 w 79"/>
                  <a:gd name="T3" fmla="*/ 1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1 h 104"/>
                  <a:gd name="T18" fmla="*/ 0 w 79"/>
                  <a:gd name="T19" fmla="*/ 1 h 104"/>
                  <a:gd name="T20" fmla="*/ 0 w 79"/>
                  <a:gd name="T21" fmla="*/ 1 h 104"/>
                  <a:gd name="T22" fmla="*/ 0 w 79"/>
                  <a:gd name="T23" fmla="*/ 1 h 104"/>
                  <a:gd name="T24" fmla="*/ 0 w 79"/>
                  <a:gd name="T25" fmla="*/ 1 h 104"/>
                  <a:gd name="T26" fmla="*/ 0 w 79"/>
                  <a:gd name="T27" fmla="*/ 1 h 104"/>
                  <a:gd name="T28" fmla="*/ 0 w 79"/>
                  <a:gd name="T29" fmla="*/ 1 h 104"/>
                  <a:gd name="T30" fmla="*/ 0 w 79"/>
                  <a:gd name="T31" fmla="*/ 1 h 104"/>
                  <a:gd name="T32" fmla="*/ 0 w 79"/>
                  <a:gd name="T33" fmla="*/ 1 h 104"/>
                  <a:gd name="T34" fmla="*/ 0 w 79"/>
                  <a:gd name="T35" fmla="*/ 1 h 104"/>
                  <a:gd name="T36" fmla="*/ 0 w 79"/>
                  <a:gd name="T37" fmla="*/ 1 h 104"/>
                  <a:gd name="T38" fmla="*/ 0 w 79"/>
                  <a:gd name="T39" fmla="*/ 1 h 104"/>
                  <a:gd name="T40" fmla="*/ 1 w 79"/>
                  <a:gd name="T41" fmla="*/ 1 h 104"/>
                  <a:gd name="T42" fmla="*/ 1 w 79"/>
                  <a:gd name="T43" fmla="*/ 1 h 104"/>
                  <a:gd name="T44" fmla="*/ 1 w 79"/>
                  <a:gd name="T45" fmla="*/ 1 h 104"/>
                  <a:gd name="T46" fmla="*/ 1 w 79"/>
                  <a:gd name="T47" fmla="*/ 1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460" name="Freeform 159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697" y="2643"/>
              <a:ext cx="7" cy="35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61" name="Freeform 160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2649" y="2731"/>
              <a:ext cx="9" cy="36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62" name="Freeform 161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782" y="1677"/>
              <a:ext cx="459" cy="209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63" name="Freeform 162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1468" y="2916"/>
              <a:ext cx="207" cy="262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64" name="Freeform 163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1603" y="2557"/>
              <a:ext cx="75" cy="136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9" name="Group 164"/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1423" y="2453"/>
              <a:ext cx="204" cy="253"/>
              <a:chOff x="1486" y="2412"/>
              <a:chExt cx="244" cy="256"/>
            </a:xfrm>
          </p:grpSpPr>
          <p:sp>
            <p:nvSpPr>
              <p:cNvPr id="120746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0 h 22"/>
                  <a:gd name="T4" fmla="*/ 0 w 54"/>
                  <a:gd name="T5" fmla="*/ 0 h 22"/>
                  <a:gd name="T6" fmla="*/ 0 w 54"/>
                  <a:gd name="T7" fmla="*/ 0 h 22"/>
                  <a:gd name="T8" fmla="*/ 0 w 54"/>
                  <a:gd name="T9" fmla="*/ 0 h 22"/>
                  <a:gd name="T10" fmla="*/ 0 w 54"/>
                  <a:gd name="T11" fmla="*/ 0 h 22"/>
                  <a:gd name="T12" fmla="*/ 0 w 54"/>
                  <a:gd name="T13" fmla="*/ 0 h 22"/>
                  <a:gd name="T14" fmla="*/ 0 w 54"/>
                  <a:gd name="T15" fmla="*/ 0 h 22"/>
                  <a:gd name="T16" fmla="*/ 0 w 54"/>
                  <a:gd name="T17" fmla="*/ 0 h 22"/>
                  <a:gd name="T18" fmla="*/ 0 w 54"/>
                  <a:gd name="T19" fmla="*/ 0 h 22"/>
                  <a:gd name="T20" fmla="*/ 0 w 54"/>
                  <a:gd name="T21" fmla="*/ 0 h 22"/>
                  <a:gd name="T22" fmla="*/ 1 w 54"/>
                  <a:gd name="T23" fmla="*/ 0 h 22"/>
                  <a:gd name="T24" fmla="*/ 1 w 54"/>
                  <a:gd name="T25" fmla="*/ 0 h 22"/>
                  <a:gd name="T26" fmla="*/ 1 w 54"/>
                  <a:gd name="T27" fmla="*/ 0 h 22"/>
                  <a:gd name="T28" fmla="*/ 0 w 54"/>
                  <a:gd name="T29" fmla="*/ 0 h 22"/>
                  <a:gd name="T30" fmla="*/ 0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6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0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0 h 24"/>
                  <a:gd name="T14" fmla="*/ 0 w 6"/>
                  <a:gd name="T15" fmla="*/ 0 h 24"/>
                  <a:gd name="T16" fmla="*/ 0 w 6"/>
                  <a:gd name="T17" fmla="*/ 0 h 24"/>
                  <a:gd name="T18" fmla="*/ 0 w 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6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0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46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3 h 672"/>
                  <a:gd name="T2" fmla="*/ 1 w 743"/>
                  <a:gd name="T3" fmla="*/ 3 h 672"/>
                  <a:gd name="T4" fmla="*/ 1 w 743"/>
                  <a:gd name="T5" fmla="*/ 4 h 672"/>
                  <a:gd name="T6" fmla="*/ 2 w 743"/>
                  <a:gd name="T7" fmla="*/ 4 h 672"/>
                  <a:gd name="T8" fmla="*/ 2 w 743"/>
                  <a:gd name="T9" fmla="*/ 4 h 672"/>
                  <a:gd name="T10" fmla="*/ 4 w 743"/>
                  <a:gd name="T11" fmla="*/ 5 h 672"/>
                  <a:gd name="T12" fmla="*/ 3 w 743"/>
                  <a:gd name="T13" fmla="*/ 5 h 672"/>
                  <a:gd name="T14" fmla="*/ 4 w 743"/>
                  <a:gd name="T15" fmla="*/ 6 h 672"/>
                  <a:gd name="T16" fmla="*/ 4 w 743"/>
                  <a:gd name="T17" fmla="*/ 7 h 672"/>
                  <a:gd name="T18" fmla="*/ 4 w 743"/>
                  <a:gd name="T19" fmla="*/ 7 h 672"/>
                  <a:gd name="T20" fmla="*/ 4 w 743"/>
                  <a:gd name="T21" fmla="*/ 8 h 672"/>
                  <a:gd name="T22" fmla="*/ 4 w 743"/>
                  <a:gd name="T23" fmla="*/ 8 h 672"/>
                  <a:gd name="T24" fmla="*/ 5 w 743"/>
                  <a:gd name="T25" fmla="*/ 8 h 672"/>
                  <a:gd name="T26" fmla="*/ 5 w 743"/>
                  <a:gd name="T27" fmla="*/ 8 h 672"/>
                  <a:gd name="T28" fmla="*/ 6 w 743"/>
                  <a:gd name="T29" fmla="*/ 8 h 672"/>
                  <a:gd name="T30" fmla="*/ 6 w 743"/>
                  <a:gd name="T31" fmla="*/ 7 h 672"/>
                  <a:gd name="T32" fmla="*/ 6 w 743"/>
                  <a:gd name="T33" fmla="*/ 6 h 672"/>
                  <a:gd name="T34" fmla="*/ 7 w 743"/>
                  <a:gd name="T35" fmla="*/ 6 h 672"/>
                  <a:gd name="T36" fmla="*/ 7 w 743"/>
                  <a:gd name="T37" fmla="*/ 6 h 672"/>
                  <a:gd name="T38" fmla="*/ 8 w 743"/>
                  <a:gd name="T39" fmla="*/ 5 h 672"/>
                  <a:gd name="T40" fmla="*/ 8 w 743"/>
                  <a:gd name="T41" fmla="*/ 5 h 672"/>
                  <a:gd name="T42" fmla="*/ 8 w 743"/>
                  <a:gd name="T43" fmla="*/ 5 h 672"/>
                  <a:gd name="T44" fmla="*/ 8 w 743"/>
                  <a:gd name="T45" fmla="*/ 4 h 672"/>
                  <a:gd name="T46" fmla="*/ 8 w 743"/>
                  <a:gd name="T47" fmla="*/ 4 h 672"/>
                  <a:gd name="T48" fmla="*/ 8 w 743"/>
                  <a:gd name="T49" fmla="*/ 3 h 672"/>
                  <a:gd name="T50" fmla="*/ 9 w 743"/>
                  <a:gd name="T51" fmla="*/ 3 h 672"/>
                  <a:gd name="T52" fmla="*/ 9 w 743"/>
                  <a:gd name="T53" fmla="*/ 3 h 672"/>
                  <a:gd name="T54" fmla="*/ 8 w 743"/>
                  <a:gd name="T55" fmla="*/ 2 h 672"/>
                  <a:gd name="T56" fmla="*/ 8 w 743"/>
                  <a:gd name="T57" fmla="*/ 2 h 672"/>
                  <a:gd name="T58" fmla="*/ 8 w 743"/>
                  <a:gd name="T59" fmla="*/ 2 h 672"/>
                  <a:gd name="T60" fmla="*/ 8 w 743"/>
                  <a:gd name="T61" fmla="*/ 2 h 672"/>
                  <a:gd name="T62" fmla="*/ 7 w 743"/>
                  <a:gd name="T63" fmla="*/ 2 h 672"/>
                  <a:gd name="T64" fmla="*/ 7 w 743"/>
                  <a:gd name="T65" fmla="*/ 1 h 672"/>
                  <a:gd name="T66" fmla="*/ 7 w 743"/>
                  <a:gd name="T67" fmla="*/ 1 h 672"/>
                  <a:gd name="T68" fmla="*/ 6 w 743"/>
                  <a:gd name="T69" fmla="*/ 1 h 672"/>
                  <a:gd name="T70" fmla="*/ 6 w 743"/>
                  <a:gd name="T71" fmla="*/ 1 h 672"/>
                  <a:gd name="T72" fmla="*/ 6 w 743"/>
                  <a:gd name="T73" fmla="*/ 1 h 672"/>
                  <a:gd name="T74" fmla="*/ 5 w 743"/>
                  <a:gd name="T75" fmla="*/ 1 h 672"/>
                  <a:gd name="T76" fmla="*/ 5 w 743"/>
                  <a:gd name="T77" fmla="*/ 1 h 672"/>
                  <a:gd name="T78" fmla="*/ 5 w 743"/>
                  <a:gd name="T79" fmla="*/ 1 h 672"/>
                  <a:gd name="T80" fmla="*/ 4 w 743"/>
                  <a:gd name="T81" fmla="*/ 1 h 672"/>
                  <a:gd name="T82" fmla="*/ 4 w 743"/>
                  <a:gd name="T83" fmla="*/ 1 h 672"/>
                  <a:gd name="T84" fmla="*/ 4 w 743"/>
                  <a:gd name="T85" fmla="*/ 1 h 672"/>
                  <a:gd name="T86" fmla="*/ 3 w 743"/>
                  <a:gd name="T87" fmla="*/ 1 h 672"/>
                  <a:gd name="T88" fmla="*/ 3 w 743"/>
                  <a:gd name="T89" fmla="*/ 1 h 672"/>
                  <a:gd name="T90" fmla="*/ 2 w 743"/>
                  <a:gd name="T91" fmla="*/ 0 h 672"/>
                  <a:gd name="T92" fmla="*/ 2 w 743"/>
                  <a:gd name="T93" fmla="*/ 0 h 672"/>
                  <a:gd name="T94" fmla="*/ 2 w 743"/>
                  <a:gd name="T95" fmla="*/ 1 h 672"/>
                  <a:gd name="T96" fmla="*/ 1 w 743"/>
                  <a:gd name="T97" fmla="*/ 1 h 672"/>
                  <a:gd name="T98" fmla="*/ 1 w 743"/>
                  <a:gd name="T99" fmla="*/ 2 h 672"/>
                  <a:gd name="T100" fmla="*/ 1 w 743"/>
                  <a:gd name="T101" fmla="*/ 2 h 672"/>
                  <a:gd name="T102" fmla="*/ 1 w 743"/>
                  <a:gd name="T103" fmla="*/ 2 h 672"/>
                  <a:gd name="T104" fmla="*/ 1 w 743"/>
                  <a:gd name="T105" fmla="*/ 2 h 672"/>
                  <a:gd name="T106" fmla="*/ 1 w 743"/>
                  <a:gd name="T107" fmla="*/ 2 h 672"/>
                  <a:gd name="T108" fmla="*/ 1 w 743"/>
                  <a:gd name="T109" fmla="*/ 1 h 672"/>
                  <a:gd name="T110" fmla="*/ 1 w 743"/>
                  <a:gd name="T111" fmla="*/ 1 h 672"/>
                  <a:gd name="T112" fmla="*/ 1 w 743"/>
                  <a:gd name="T113" fmla="*/ 0 h 672"/>
                  <a:gd name="T114" fmla="*/ 1 w 743"/>
                  <a:gd name="T115" fmla="*/ 0 h 672"/>
                  <a:gd name="T116" fmla="*/ 0 w 743"/>
                  <a:gd name="T117" fmla="*/ 1 h 672"/>
                  <a:gd name="T118" fmla="*/ 0 w 743"/>
                  <a:gd name="T119" fmla="*/ 1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470" name="Freeform 169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586" y="3423"/>
              <a:ext cx="20" cy="7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1" name="Freeform 170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659" y="3507"/>
              <a:ext cx="1" cy="3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2" name="Line 171"/>
            <p:cNvSpPr>
              <a:spLocks noChangeShapeType="1"/>
            </p:cNvSpPr>
            <p:nvPr>
              <p:custDataLst>
                <p:tags r:id="rId93"/>
              </p:custDataLst>
            </p:nvPr>
          </p:nvSpPr>
          <p:spPr bwMode="auto">
            <a:xfrm flipV="1">
              <a:off x="4716" y="3506"/>
              <a:ext cx="1" cy="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73" name="Freeform 172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716" y="3506"/>
              <a:ext cx="2" cy="10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4" name="Freeform 173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4904" y="3172"/>
              <a:ext cx="14" cy="18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5" name="Freeform 174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4908" y="3126"/>
              <a:ext cx="17" cy="25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6" name="Freeform 175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4893" y="3111"/>
              <a:ext cx="11" cy="19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7" name="Freeform 176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4842" y="3034"/>
              <a:ext cx="43" cy="87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78" name="Line 177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 flipH="1" flipV="1">
              <a:off x="4838" y="3013"/>
              <a:ext cx="4" cy="2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79" name="Freeform 178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4838" y="3003"/>
              <a:ext cx="4" cy="10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0" name="Line 179"/>
            <p:cNvSpPr>
              <a:spLocks noChangeShapeType="1"/>
            </p:cNvSpPr>
            <p:nvPr>
              <p:custDataLst>
                <p:tags r:id="rId101"/>
              </p:custDataLst>
            </p:nvPr>
          </p:nvSpPr>
          <p:spPr bwMode="auto">
            <a:xfrm flipV="1">
              <a:off x="4842" y="2995"/>
              <a:ext cx="0" cy="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81" name="Freeform 180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4813" y="2953"/>
              <a:ext cx="29" cy="42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2" name="Freeform 181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4822" y="2917"/>
              <a:ext cx="1" cy="32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3" name="Freeform 182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4826" y="2913"/>
              <a:ext cx="5" cy="23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4" name="Freeform 183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4836" y="2901"/>
              <a:ext cx="1" cy="14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5" name="Line 184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4836" y="291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86" name="Freeform 185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4826" y="2903"/>
              <a:ext cx="1" cy="10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7" name="Freeform 186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4650" y="3526"/>
              <a:ext cx="61" cy="55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8" name="Freeform 187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4737" y="3034"/>
              <a:ext cx="2" cy="11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89" name="Freeform 188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4695" y="2985"/>
              <a:ext cx="10" cy="10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90" name="Freeform 189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4705" y="2930"/>
              <a:ext cx="2" cy="6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91" name="Freeform 190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4604" y="2932"/>
              <a:ext cx="23" cy="14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92" name="Freeform 191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4758" y="3224"/>
              <a:ext cx="1" cy="9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93" name="Freeform 192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4277" y="2913"/>
              <a:ext cx="642" cy="572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66FF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494" name="Freeform 193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04" y="2073"/>
              <a:ext cx="421" cy="366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95" name="Freeform 194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607" y="3106"/>
              <a:ext cx="133" cy="167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96" name="Freeform 195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714" y="2605"/>
              <a:ext cx="46" cy="69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497" name="Freeform 196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1408" y="2327"/>
              <a:ext cx="44" cy="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05" name="Freeform 204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1500" y="3559"/>
              <a:ext cx="16" cy="38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06" name="Freeform 205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519" y="3619"/>
              <a:ext cx="11" cy="34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07" name="Freeform 206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522" y="3633"/>
              <a:ext cx="5" cy="37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16" name="Freeform 21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345" y="2349"/>
              <a:ext cx="33" cy="37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17" name="Freeform 21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255" y="2262"/>
              <a:ext cx="158" cy="69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18" name="Freeform 21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1447" y="2327"/>
              <a:ext cx="56" cy="44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19" name="Freeform 21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1175" y="2365"/>
              <a:ext cx="21" cy="53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0" name="Freeform 21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1125" y="2365"/>
              <a:ext cx="59" cy="92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1" name="Freeform 22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1155" y="2435"/>
              <a:ext cx="45" cy="36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2" name="Freeform 22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1175" y="2411"/>
              <a:ext cx="90" cy="55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3" name="Freeform 22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1186" y="2430"/>
              <a:ext cx="79" cy="77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4" name="Freeform 22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1218" y="2501"/>
              <a:ext cx="53" cy="63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5" name="Freeform 22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269" y="2535"/>
              <a:ext cx="90" cy="50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6" name="Freeform 22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1698" y="3325"/>
              <a:ext cx="84" cy="98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7" name="Freeform 22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672" y="1194"/>
              <a:ext cx="149" cy="58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28" name="Freeform 22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626" y="1339"/>
              <a:ext cx="283" cy="228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29" name="Freeform 22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840" y="1869"/>
              <a:ext cx="31" cy="5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0" name="Freeform 22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656" y="1768"/>
              <a:ext cx="53" cy="37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1" name="Freeform 23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617" y="1654"/>
              <a:ext cx="53" cy="46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2" name="Freeform 23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605" y="1694"/>
              <a:ext cx="53" cy="36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33" name="Freeform 23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084" y="2043"/>
              <a:ext cx="21" cy="83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4" name="Freeform 23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052" y="2076"/>
              <a:ext cx="44" cy="82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5" name="Freeform 23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423" y="1606"/>
              <a:ext cx="61" cy="91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pattFill prst="dkUpDiag">
              <a:fgClr>
                <a:srgbClr val="FF3300"/>
              </a:fgClr>
              <a:bgClr>
                <a:srgbClr val="009900"/>
              </a:bgClr>
            </a:patt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6" name="Freeform 23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305" y="2180"/>
              <a:ext cx="193" cy="246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7" name="Freeform 23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378" y="2218"/>
              <a:ext cx="261" cy="295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8" name="Freeform 23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440" y="1970"/>
              <a:ext cx="311" cy="365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39" name="Freeform 23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715" y="2055"/>
              <a:ext cx="242" cy="275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0" name="Freeform 23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685" y="1970"/>
              <a:ext cx="59" cy="149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1" name="Freeform 24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296" y="2166"/>
              <a:ext cx="146" cy="136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2" name="Freeform 24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276" y="1415"/>
              <a:ext cx="120" cy="59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3" name="Freeform 24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775" y="1581"/>
              <a:ext cx="9" cy="36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44" name="Freeform 24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704" y="1369"/>
              <a:ext cx="148" cy="249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5" name="Freeform 24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791" y="1567"/>
              <a:ext cx="17" cy="36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46" name="Freeform 24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441" y="1669"/>
              <a:ext cx="18" cy="36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pattFill prst="dkUpDiag">
              <a:fgClr>
                <a:srgbClr val="FF3300"/>
              </a:fgClr>
              <a:bgClr>
                <a:srgbClr val="009900"/>
              </a:bgClr>
            </a:patt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7" name="Freeform 24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041" y="2002"/>
              <a:ext cx="32" cy="36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8" name="Freeform 24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2794" y="2501"/>
              <a:ext cx="205" cy="15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49" name="Freeform 24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2754" y="2607"/>
              <a:ext cx="315" cy="348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0" name="Freeform 24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2714" y="2670"/>
              <a:ext cx="35" cy="35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1" name="Freeform 25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2703" y="2670"/>
              <a:ext cx="96" cy="127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2" name="Freeform 25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039" y="2925"/>
              <a:ext cx="164" cy="328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3" name="Freeform 25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2872" y="3076"/>
              <a:ext cx="150" cy="181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4" name="Freeform 25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233" y="2951"/>
              <a:ext cx="124" cy="274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5" name="Freeform 25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029" y="2761"/>
              <a:ext cx="23" cy="42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6" name="Freeform 25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022" y="2736"/>
              <a:ext cx="35" cy="38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7" name="Freeform 25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217" y="1917"/>
              <a:ext cx="317" cy="298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8" name="Freeform 25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232" y="2331"/>
              <a:ext cx="156" cy="144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59" name="Freeform 25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355" y="2189"/>
              <a:ext cx="76" cy="76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60" name="Freeform 25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158" y="1970"/>
              <a:ext cx="140" cy="166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1" name="Freeform 26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473" y="1945"/>
              <a:ext cx="209" cy="183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2" name="Freeform 26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493" y="1976"/>
              <a:ext cx="230" cy="267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3" name="Freeform 26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991" y="2145"/>
              <a:ext cx="139" cy="369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564" name="Freeform 26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305" y="2466"/>
              <a:ext cx="51" cy="37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5" name="Freeform 26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2358" y="2518"/>
              <a:ext cx="47" cy="6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6" name="Freeform 26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2385" y="2550"/>
              <a:ext cx="66" cy="8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7" name="Freeform 26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2520" y="2499"/>
              <a:ext cx="66" cy="127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8" name="Freeform 26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2301" y="2446"/>
              <a:ext cx="55" cy="37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69" name="Freeform 26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2569" y="2495"/>
              <a:ext cx="27" cy="98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0" name="Freeform 26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2585" y="2471"/>
              <a:ext cx="48" cy="119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1" name="Freeform 27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044" y="3230"/>
              <a:ext cx="16" cy="38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2" name="Freeform 27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2978" y="3291"/>
              <a:ext cx="39" cy="36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3" name="Freeform 27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375" y="1851"/>
              <a:ext cx="76" cy="108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4" name="Freeform 27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790" y="2112"/>
              <a:ext cx="130" cy="78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5" name="Freeform 27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926" y="2147"/>
              <a:ext cx="46" cy="41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6" name="Freeform 27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920" y="2192"/>
              <a:ext cx="84" cy="105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7" name="Freeform 27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120" y="2265"/>
              <a:ext cx="127" cy="170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8" name="Freeform 27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172" y="2423"/>
              <a:ext cx="84" cy="82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79" name="Freeform 27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425" y="1942"/>
              <a:ext cx="54" cy="82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80" name="Freeform 27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783" y="2759"/>
              <a:ext cx="146" cy="160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81" name="Freeform 28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904" y="2749"/>
              <a:ext cx="67" cy="81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582" name="Freeform 28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818" y="2518"/>
              <a:ext cx="40" cy="75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0" name="Group 282"/>
            <p:cNvGrpSpPr>
              <a:grpSpLocks/>
            </p:cNvGrpSpPr>
            <p:nvPr>
              <p:custDataLst>
                <p:tags r:id="rId189"/>
              </p:custDataLst>
            </p:nvPr>
          </p:nvGrpSpPr>
          <p:grpSpPr bwMode="auto">
            <a:xfrm>
              <a:off x="4410" y="2336"/>
              <a:ext cx="147" cy="277"/>
              <a:chOff x="5062" y="2295"/>
              <a:chExt cx="177" cy="279"/>
            </a:xfrm>
          </p:grpSpPr>
          <p:sp>
            <p:nvSpPr>
              <p:cNvPr id="1207584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1 h 110"/>
                  <a:gd name="T2" fmla="*/ 0 w 60"/>
                  <a:gd name="T3" fmla="*/ 1 h 110"/>
                  <a:gd name="T4" fmla="*/ 1 w 60"/>
                  <a:gd name="T5" fmla="*/ 1 h 110"/>
                  <a:gd name="T6" fmla="*/ 1 w 60"/>
                  <a:gd name="T7" fmla="*/ 1 h 110"/>
                  <a:gd name="T8" fmla="*/ 1 w 60"/>
                  <a:gd name="T9" fmla="*/ 1 h 110"/>
                  <a:gd name="T10" fmla="*/ 1 w 60"/>
                  <a:gd name="T11" fmla="*/ 1 h 110"/>
                  <a:gd name="T12" fmla="*/ 1 w 60"/>
                  <a:gd name="T13" fmla="*/ 1 h 110"/>
                  <a:gd name="T14" fmla="*/ 1 w 60"/>
                  <a:gd name="T15" fmla="*/ 1 h 110"/>
                  <a:gd name="T16" fmla="*/ 1 w 60"/>
                  <a:gd name="T17" fmla="*/ 1 h 110"/>
                  <a:gd name="T18" fmla="*/ 1 w 60"/>
                  <a:gd name="T19" fmla="*/ 1 h 110"/>
                  <a:gd name="T20" fmla="*/ 1 w 60"/>
                  <a:gd name="T21" fmla="*/ 1 h 110"/>
                  <a:gd name="T22" fmla="*/ 1 w 60"/>
                  <a:gd name="T23" fmla="*/ 0 h 110"/>
                  <a:gd name="T24" fmla="*/ 1 w 60"/>
                  <a:gd name="T25" fmla="*/ 0 h 110"/>
                  <a:gd name="T26" fmla="*/ 1 w 60"/>
                  <a:gd name="T27" fmla="*/ 0 h 110"/>
                  <a:gd name="T28" fmla="*/ 1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1 h 110"/>
                  <a:gd name="T48" fmla="*/ 0 w 60"/>
                  <a:gd name="T49" fmla="*/ 1 h 110"/>
                  <a:gd name="T50" fmla="*/ 0 w 60"/>
                  <a:gd name="T51" fmla="*/ 1 h 110"/>
                  <a:gd name="T52" fmla="*/ 0 w 60"/>
                  <a:gd name="T53" fmla="*/ 1 h 110"/>
                  <a:gd name="T54" fmla="*/ 0 w 60"/>
                  <a:gd name="T55" fmla="*/ 1 h 110"/>
                  <a:gd name="T56" fmla="*/ 0 w 60"/>
                  <a:gd name="T57" fmla="*/ 1 h 110"/>
                  <a:gd name="T58" fmla="*/ 0 w 60"/>
                  <a:gd name="T59" fmla="*/ 1 h 110"/>
                  <a:gd name="T60" fmla="*/ 0 w 60"/>
                  <a:gd name="T61" fmla="*/ 1 h 110"/>
                  <a:gd name="T62" fmla="*/ 0 w 60"/>
                  <a:gd name="T63" fmla="*/ 1 h 110"/>
                  <a:gd name="T64" fmla="*/ 0 w 60"/>
                  <a:gd name="T65" fmla="*/ 1 h 110"/>
                  <a:gd name="T66" fmla="*/ 0 w 60"/>
                  <a:gd name="T67" fmla="*/ 1 h 110"/>
                  <a:gd name="T68" fmla="*/ 0 w 60"/>
                  <a:gd name="T69" fmla="*/ 1 h 110"/>
                  <a:gd name="T70" fmla="*/ 0 w 60"/>
                  <a:gd name="T71" fmla="*/ 1 h 110"/>
                  <a:gd name="T72" fmla="*/ 0 w 60"/>
                  <a:gd name="T73" fmla="*/ 1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85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1 h 75"/>
                  <a:gd name="T12" fmla="*/ 1 w 72"/>
                  <a:gd name="T13" fmla="*/ 1 h 75"/>
                  <a:gd name="T14" fmla="*/ 1 w 72"/>
                  <a:gd name="T15" fmla="*/ 1 h 75"/>
                  <a:gd name="T16" fmla="*/ 1 w 72"/>
                  <a:gd name="T17" fmla="*/ 1 h 75"/>
                  <a:gd name="T18" fmla="*/ 1 w 72"/>
                  <a:gd name="T19" fmla="*/ 1 h 75"/>
                  <a:gd name="T20" fmla="*/ 1 w 72"/>
                  <a:gd name="T21" fmla="*/ 1 h 75"/>
                  <a:gd name="T22" fmla="*/ 1 w 72"/>
                  <a:gd name="T23" fmla="*/ 0 h 75"/>
                  <a:gd name="T24" fmla="*/ 1 w 72"/>
                  <a:gd name="T25" fmla="*/ 0 h 75"/>
                  <a:gd name="T26" fmla="*/ 1 w 72"/>
                  <a:gd name="T27" fmla="*/ 0 h 75"/>
                  <a:gd name="T28" fmla="*/ 1 w 72"/>
                  <a:gd name="T29" fmla="*/ 0 h 75"/>
                  <a:gd name="T30" fmla="*/ 1 w 72"/>
                  <a:gd name="T31" fmla="*/ 0 h 75"/>
                  <a:gd name="T32" fmla="*/ 1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86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1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1 h 49"/>
                  <a:gd name="T26" fmla="*/ 0 w 15"/>
                  <a:gd name="T27" fmla="*/ 1 h 49"/>
                  <a:gd name="T28" fmla="*/ 0 w 15"/>
                  <a:gd name="T29" fmla="*/ 1 h 49"/>
                  <a:gd name="T30" fmla="*/ 0 w 15"/>
                  <a:gd name="T31" fmla="*/ 1 h 49"/>
                  <a:gd name="T32" fmla="*/ 0 w 15"/>
                  <a:gd name="T33" fmla="*/ 1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87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1 w 47"/>
                  <a:gd name="T19" fmla="*/ 0 h 40"/>
                  <a:gd name="T20" fmla="*/ 1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88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89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0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1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 w 126"/>
                  <a:gd name="T1" fmla="*/ 0 h 166"/>
                  <a:gd name="T2" fmla="*/ 1 w 126"/>
                  <a:gd name="T3" fmla="*/ 0 h 166"/>
                  <a:gd name="T4" fmla="*/ 1 w 126"/>
                  <a:gd name="T5" fmla="*/ 0 h 166"/>
                  <a:gd name="T6" fmla="*/ 2 w 126"/>
                  <a:gd name="T7" fmla="*/ 0 h 166"/>
                  <a:gd name="T8" fmla="*/ 2 w 126"/>
                  <a:gd name="T9" fmla="*/ 0 h 166"/>
                  <a:gd name="T10" fmla="*/ 2 w 126"/>
                  <a:gd name="T11" fmla="*/ 0 h 166"/>
                  <a:gd name="T12" fmla="*/ 2 w 126"/>
                  <a:gd name="T13" fmla="*/ 0 h 166"/>
                  <a:gd name="T14" fmla="*/ 2 w 126"/>
                  <a:gd name="T15" fmla="*/ 0 h 166"/>
                  <a:gd name="T16" fmla="*/ 1 w 126"/>
                  <a:gd name="T17" fmla="*/ 1 h 166"/>
                  <a:gd name="T18" fmla="*/ 1 w 126"/>
                  <a:gd name="T19" fmla="*/ 1 h 166"/>
                  <a:gd name="T20" fmla="*/ 1 w 126"/>
                  <a:gd name="T21" fmla="*/ 1 h 166"/>
                  <a:gd name="T22" fmla="*/ 1 w 126"/>
                  <a:gd name="T23" fmla="*/ 1 h 166"/>
                  <a:gd name="T24" fmla="*/ 1 w 126"/>
                  <a:gd name="T25" fmla="*/ 1 h 166"/>
                  <a:gd name="T26" fmla="*/ 1 w 126"/>
                  <a:gd name="T27" fmla="*/ 2 h 166"/>
                  <a:gd name="T28" fmla="*/ 0 w 126"/>
                  <a:gd name="T29" fmla="*/ 2 h 166"/>
                  <a:gd name="T30" fmla="*/ 0 w 126"/>
                  <a:gd name="T31" fmla="*/ 2 h 166"/>
                  <a:gd name="T32" fmla="*/ 0 w 126"/>
                  <a:gd name="T33" fmla="*/ 2 h 166"/>
                  <a:gd name="T34" fmla="*/ 0 w 126"/>
                  <a:gd name="T35" fmla="*/ 2 h 166"/>
                  <a:gd name="T36" fmla="*/ 0 w 126"/>
                  <a:gd name="T37" fmla="*/ 2 h 166"/>
                  <a:gd name="T38" fmla="*/ 0 w 126"/>
                  <a:gd name="T39" fmla="*/ 2 h 166"/>
                  <a:gd name="T40" fmla="*/ 0 w 126"/>
                  <a:gd name="T41" fmla="*/ 2 h 166"/>
                  <a:gd name="T42" fmla="*/ 0 w 126"/>
                  <a:gd name="T43" fmla="*/ 2 h 166"/>
                  <a:gd name="T44" fmla="*/ 0 w 126"/>
                  <a:gd name="T45" fmla="*/ 2 h 166"/>
                  <a:gd name="T46" fmla="*/ 0 w 126"/>
                  <a:gd name="T47" fmla="*/ 2 h 166"/>
                  <a:gd name="T48" fmla="*/ 0 w 126"/>
                  <a:gd name="T49" fmla="*/ 2 h 166"/>
                  <a:gd name="T50" fmla="*/ 0 w 126"/>
                  <a:gd name="T51" fmla="*/ 2 h 166"/>
                  <a:gd name="T52" fmla="*/ 0 w 126"/>
                  <a:gd name="T53" fmla="*/ 1 h 166"/>
                  <a:gd name="T54" fmla="*/ 0 w 126"/>
                  <a:gd name="T55" fmla="*/ 1 h 166"/>
                  <a:gd name="T56" fmla="*/ 0 w 126"/>
                  <a:gd name="T57" fmla="*/ 1 h 166"/>
                  <a:gd name="T58" fmla="*/ 0 w 126"/>
                  <a:gd name="T59" fmla="*/ 1 h 166"/>
                  <a:gd name="T60" fmla="*/ 1 w 126"/>
                  <a:gd name="T61" fmla="*/ 1 h 166"/>
                  <a:gd name="T62" fmla="*/ 1 w 126"/>
                  <a:gd name="T63" fmla="*/ 1 h 166"/>
                  <a:gd name="T64" fmla="*/ 1 w 126"/>
                  <a:gd name="T65" fmla="*/ 1 h 166"/>
                  <a:gd name="T66" fmla="*/ 1 w 126"/>
                  <a:gd name="T67" fmla="*/ 1 h 166"/>
                  <a:gd name="T68" fmla="*/ 1 w 126"/>
                  <a:gd name="T69" fmla="*/ 1 h 166"/>
                  <a:gd name="T70" fmla="*/ 1 w 126"/>
                  <a:gd name="T71" fmla="*/ 0 h 166"/>
                  <a:gd name="T72" fmla="*/ 1 w 126"/>
                  <a:gd name="T73" fmla="*/ 0 h 166"/>
                  <a:gd name="T74" fmla="*/ 1 w 126"/>
                  <a:gd name="T75" fmla="*/ 0 h 166"/>
                  <a:gd name="T76" fmla="*/ 1 w 126"/>
                  <a:gd name="T77" fmla="*/ 0 h 166"/>
                  <a:gd name="T78" fmla="*/ 1 w 126"/>
                  <a:gd name="T79" fmla="*/ 0 h 166"/>
                  <a:gd name="T80" fmla="*/ 1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2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2 h 259"/>
                  <a:gd name="T2" fmla="*/ 0 w 259"/>
                  <a:gd name="T3" fmla="*/ 2 h 259"/>
                  <a:gd name="T4" fmla="*/ 0 w 259"/>
                  <a:gd name="T5" fmla="*/ 2 h 259"/>
                  <a:gd name="T6" fmla="*/ 0 w 259"/>
                  <a:gd name="T7" fmla="*/ 2 h 259"/>
                  <a:gd name="T8" fmla="*/ 0 w 259"/>
                  <a:gd name="T9" fmla="*/ 2 h 259"/>
                  <a:gd name="T10" fmla="*/ 0 w 259"/>
                  <a:gd name="T11" fmla="*/ 1 h 259"/>
                  <a:gd name="T12" fmla="*/ 1 w 259"/>
                  <a:gd name="T13" fmla="*/ 1 h 259"/>
                  <a:gd name="T14" fmla="*/ 1 w 259"/>
                  <a:gd name="T15" fmla="*/ 1 h 259"/>
                  <a:gd name="T16" fmla="*/ 1 w 259"/>
                  <a:gd name="T17" fmla="*/ 1 h 259"/>
                  <a:gd name="T18" fmla="*/ 1 w 259"/>
                  <a:gd name="T19" fmla="*/ 1 h 259"/>
                  <a:gd name="T20" fmla="*/ 1 w 259"/>
                  <a:gd name="T21" fmla="*/ 1 h 259"/>
                  <a:gd name="T22" fmla="*/ 1 w 259"/>
                  <a:gd name="T23" fmla="*/ 1 h 259"/>
                  <a:gd name="T24" fmla="*/ 1 w 259"/>
                  <a:gd name="T25" fmla="*/ 1 h 259"/>
                  <a:gd name="T26" fmla="*/ 1 w 259"/>
                  <a:gd name="T27" fmla="*/ 1 h 259"/>
                  <a:gd name="T28" fmla="*/ 2 w 259"/>
                  <a:gd name="T29" fmla="*/ 1 h 259"/>
                  <a:gd name="T30" fmla="*/ 2 w 259"/>
                  <a:gd name="T31" fmla="*/ 1 h 259"/>
                  <a:gd name="T32" fmla="*/ 2 w 259"/>
                  <a:gd name="T33" fmla="*/ 1 h 259"/>
                  <a:gd name="T34" fmla="*/ 2 w 259"/>
                  <a:gd name="T35" fmla="*/ 1 h 259"/>
                  <a:gd name="T36" fmla="*/ 2 w 259"/>
                  <a:gd name="T37" fmla="*/ 0 h 259"/>
                  <a:gd name="T38" fmla="*/ 2 w 259"/>
                  <a:gd name="T39" fmla="*/ 0 h 259"/>
                  <a:gd name="T40" fmla="*/ 2 w 259"/>
                  <a:gd name="T41" fmla="*/ 0 h 259"/>
                  <a:gd name="T42" fmla="*/ 3 w 259"/>
                  <a:gd name="T43" fmla="*/ 0 h 259"/>
                  <a:gd name="T44" fmla="*/ 3 w 259"/>
                  <a:gd name="T45" fmla="*/ 0 h 259"/>
                  <a:gd name="T46" fmla="*/ 3 w 259"/>
                  <a:gd name="T47" fmla="*/ 1 h 259"/>
                  <a:gd name="T48" fmla="*/ 3 w 259"/>
                  <a:gd name="T49" fmla="*/ 1 h 259"/>
                  <a:gd name="T50" fmla="*/ 3 w 259"/>
                  <a:gd name="T51" fmla="*/ 1 h 259"/>
                  <a:gd name="T52" fmla="*/ 3 w 259"/>
                  <a:gd name="T53" fmla="*/ 1 h 259"/>
                  <a:gd name="T54" fmla="*/ 3 w 259"/>
                  <a:gd name="T55" fmla="*/ 1 h 259"/>
                  <a:gd name="T56" fmla="*/ 3 w 259"/>
                  <a:gd name="T57" fmla="*/ 1 h 259"/>
                  <a:gd name="T58" fmla="*/ 3 w 259"/>
                  <a:gd name="T59" fmla="*/ 1 h 259"/>
                  <a:gd name="T60" fmla="*/ 3 w 259"/>
                  <a:gd name="T61" fmla="*/ 2 h 259"/>
                  <a:gd name="T62" fmla="*/ 3 w 259"/>
                  <a:gd name="T63" fmla="*/ 2 h 259"/>
                  <a:gd name="T64" fmla="*/ 3 w 259"/>
                  <a:gd name="T65" fmla="*/ 3 h 259"/>
                  <a:gd name="T66" fmla="*/ 3 w 259"/>
                  <a:gd name="T67" fmla="*/ 3 h 259"/>
                  <a:gd name="T68" fmla="*/ 3 w 259"/>
                  <a:gd name="T69" fmla="*/ 3 h 259"/>
                  <a:gd name="T70" fmla="*/ 3 w 259"/>
                  <a:gd name="T71" fmla="*/ 2 h 259"/>
                  <a:gd name="T72" fmla="*/ 3 w 259"/>
                  <a:gd name="T73" fmla="*/ 2 h 259"/>
                  <a:gd name="T74" fmla="*/ 2 w 259"/>
                  <a:gd name="T75" fmla="*/ 2 h 259"/>
                  <a:gd name="T76" fmla="*/ 2 w 259"/>
                  <a:gd name="T77" fmla="*/ 2 h 259"/>
                  <a:gd name="T78" fmla="*/ 2 w 259"/>
                  <a:gd name="T79" fmla="*/ 3 h 259"/>
                  <a:gd name="T80" fmla="*/ 2 w 259"/>
                  <a:gd name="T81" fmla="*/ 3 h 259"/>
                  <a:gd name="T82" fmla="*/ 1 w 259"/>
                  <a:gd name="T83" fmla="*/ 3 h 259"/>
                  <a:gd name="T84" fmla="*/ 1 w 259"/>
                  <a:gd name="T85" fmla="*/ 3 h 259"/>
                  <a:gd name="T86" fmla="*/ 1 w 259"/>
                  <a:gd name="T87" fmla="*/ 3 h 259"/>
                  <a:gd name="T88" fmla="*/ 1 w 259"/>
                  <a:gd name="T89" fmla="*/ 2 h 259"/>
                  <a:gd name="T90" fmla="*/ 1 w 259"/>
                  <a:gd name="T91" fmla="*/ 2 h 259"/>
                  <a:gd name="T92" fmla="*/ 1 w 259"/>
                  <a:gd name="T93" fmla="*/ 2 h 259"/>
                  <a:gd name="T94" fmla="*/ 1 w 259"/>
                  <a:gd name="T95" fmla="*/ 2 h 259"/>
                  <a:gd name="T96" fmla="*/ 1 w 259"/>
                  <a:gd name="T97" fmla="*/ 2 h 259"/>
                  <a:gd name="T98" fmla="*/ 0 w 259"/>
                  <a:gd name="T99" fmla="*/ 2 h 259"/>
                  <a:gd name="T100" fmla="*/ 0 w 259"/>
                  <a:gd name="T101" fmla="*/ 2 h 259"/>
                  <a:gd name="T102" fmla="*/ 0 w 259"/>
                  <a:gd name="T103" fmla="*/ 2 h 259"/>
                  <a:gd name="T104" fmla="*/ 0 w 259"/>
                  <a:gd name="T105" fmla="*/ 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3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1 w 72"/>
                  <a:gd name="T1" fmla="*/ 1 h 92"/>
                  <a:gd name="T2" fmla="*/ 1 w 72"/>
                  <a:gd name="T3" fmla="*/ 1 h 92"/>
                  <a:gd name="T4" fmla="*/ 1 w 72"/>
                  <a:gd name="T5" fmla="*/ 1 h 92"/>
                  <a:gd name="T6" fmla="*/ 1 w 72"/>
                  <a:gd name="T7" fmla="*/ 1 h 92"/>
                  <a:gd name="T8" fmla="*/ 1 w 72"/>
                  <a:gd name="T9" fmla="*/ 1 h 92"/>
                  <a:gd name="T10" fmla="*/ 1 w 72"/>
                  <a:gd name="T11" fmla="*/ 1 h 92"/>
                  <a:gd name="T12" fmla="*/ 0 w 72"/>
                  <a:gd name="T13" fmla="*/ 1 h 92"/>
                  <a:gd name="T14" fmla="*/ 0 w 72"/>
                  <a:gd name="T15" fmla="*/ 1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1 w 72"/>
                  <a:gd name="T29" fmla="*/ 0 h 92"/>
                  <a:gd name="T30" fmla="*/ 1 w 72"/>
                  <a:gd name="T31" fmla="*/ 0 h 92"/>
                  <a:gd name="T32" fmla="*/ 1 w 72"/>
                  <a:gd name="T33" fmla="*/ 0 h 92"/>
                  <a:gd name="T34" fmla="*/ 1 w 72"/>
                  <a:gd name="T35" fmla="*/ 1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4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1 w 46"/>
                  <a:gd name="T7" fmla="*/ 0 h 62"/>
                  <a:gd name="T8" fmla="*/ 1 w 46"/>
                  <a:gd name="T9" fmla="*/ 0 h 62"/>
                  <a:gd name="T10" fmla="*/ 1 w 46"/>
                  <a:gd name="T11" fmla="*/ 0 h 62"/>
                  <a:gd name="T12" fmla="*/ 1 w 46"/>
                  <a:gd name="T13" fmla="*/ 0 h 62"/>
                  <a:gd name="T14" fmla="*/ 1 w 46"/>
                  <a:gd name="T15" fmla="*/ 0 h 62"/>
                  <a:gd name="T16" fmla="*/ 1 w 46"/>
                  <a:gd name="T17" fmla="*/ 0 h 62"/>
                  <a:gd name="T18" fmla="*/ 1 w 46"/>
                  <a:gd name="T19" fmla="*/ 1 h 62"/>
                  <a:gd name="T20" fmla="*/ 1 w 46"/>
                  <a:gd name="T21" fmla="*/ 1 h 62"/>
                  <a:gd name="T22" fmla="*/ 1 w 46"/>
                  <a:gd name="T23" fmla="*/ 1 h 62"/>
                  <a:gd name="T24" fmla="*/ 1 w 46"/>
                  <a:gd name="T25" fmla="*/ 1 h 62"/>
                  <a:gd name="T26" fmla="*/ 0 w 46"/>
                  <a:gd name="T27" fmla="*/ 1 h 62"/>
                  <a:gd name="T28" fmla="*/ 0 w 46"/>
                  <a:gd name="T29" fmla="*/ 1 h 62"/>
                  <a:gd name="T30" fmla="*/ 0 w 46"/>
                  <a:gd name="T31" fmla="*/ 1 h 62"/>
                  <a:gd name="T32" fmla="*/ 0 w 46"/>
                  <a:gd name="T33" fmla="*/ 1 h 62"/>
                  <a:gd name="T34" fmla="*/ 0 w 46"/>
                  <a:gd name="T35" fmla="*/ 1 h 62"/>
                  <a:gd name="T36" fmla="*/ 0 w 46"/>
                  <a:gd name="T37" fmla="*/ 1 h 62"/>
                  <a:gd name="T38" fmla="*/ 0 w 46"/>
                  <a:gd name="T39" fmla="*/ 1 h 62"/>
                  <a:gd name="T40" fmla="*/ 0 w 46"/>
                  <a:gd name="T41" fmla="*/ 1 h 62"/>
                  <a:gd name="T42" fmla="*/ 0 w 46"/>
                  <a:gd name="T43" fmla="*/ 1 h 62"/>
                  <a:gd name="T44" fmla="*/ 0 w 46"/>
                  <a:gd name="T45" fmla="*/ 1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5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 w 152"/>
                  <a:gd name="T1" fmla="*/ 0 h 296"/>
                  <a:gd name="T2" fmla="*/ 1 w 152"/>
                  <a:gd name="T3" fmla="*/ 0 h 296"/>
                  <a:gd name="T4" fmla="*/ 1 w 152"/>
                  <a:gd name="T5" fmla="*/ 0 h 296"/>
                  <a:gd name="T6" fmla="*/ 1 w 152"/>
                  <a:gd name="T7" fmla="*/ 0 h 296"/>
                  <a:gd name="T8" fmla="*/ 1 w 152"/>
                  <a:gd name="T9" fmla="*/ 0 h 296"/>
                  <a:gd name="T10" fmla="*/ 1 w 152"/>
                  <a:gd name="T11" fmla="*/ 0 h 296"/>
                  <a:gd name="T12" fmla="*/ 1 w 152"/>
                  <a:gd name="T13" fmla="*/ 0 h 296"/>
                  <a:gd name="T14" fmla="*/ 1 w 152"/>
                  <a:gd name="T15" fmla="*/ 0 h 296"/>
                  <a:gd name="T16" fmla="*/ 2 w 152"/>
                  <a:gd name="T17" fmla="*/ 1 h 296"/>
                  <a:gd name="T18" fmla="*/ 2 w 152"/>
                  <a:gd name="T19" fmla="*/ 1 h 296"/>
                  <a:gd name="T20" fmla="*/ 2 w 152"/>
                  <a:gd name="T21" fmla="*/ 1 h 296"/>
                  <a:gd name="T22" fmla="*/ 2 w 152"/>
                  <a:gd name="T23" fmla="*/ 1 h 296"/>
                  <a:gd name="T24" fmla="*/ 2 w 152"/>
                  <a:gd name="T25" fmla="*/ 1 h 296"/>
                  <a:gd name="T26" fmla="*/ 2 w 152"/>
                  <a:gd name="T27" fmla="*/ 2 h 296"/>
                  <a:gd name="T28" fmla="*/ 1 w 152"/>
                  <a:gd name="T29" fmla="*/ 2 h 296"/>
                  <a:gd name="T30" fmla="*/ 1 w 152"/>
                  <a:gd name="T31" fmla="*/ 2 h 296"/>
                  <a:gd name="T32" fmla="*/ 1 w 152"/>
                  <a:gd name="T33" fmla="*/ 2 h 296"/>
                  <a:gd name="T34" fmla="*/ 1 w 152"/>
                  <a:gd name="T35" fmla="*/ 3 h 296"/>
                  <a:gd name="T36" fmla="*/ 1 w 152"/>
                  <a:gd name="T37" fmla="*/ 3 h 296"/>
                  <a:gd name="T38" fmla="*/ 1 w 152"/>
                  <a:gd name="T39" fmla="*/ 3 h 296"/>
                  <a:gd name="T40" fmla="*/ 2 w 152"/>
                  <a:gd name="T41" fmla="*/ 3 h 296"/>
                  <a:gd name="T42" fmla="*/ 2 w 152"/>
                  <a:gd name="T43" fmla="*/ 3 h 296"/>
                  <a:gd name="T44" fmla="*/ 2 w 152"/>
                  <a:gd name="T45" fmla="*/ 3 h 296"/>
                  <a:gd name="T46" fmla="*/ 2 w 152"/>
                  <a:gd name="T47" fmla="*/ 3 h 296"/>
                  <a:gd name="T48" fmla="*/ 1 w 152"/>
                  <a:gd name="T49" fmla="*/ 4 h 296"/>
                  <a:gd name="T50" fmla="*/ 1 w 152"/>
                  <a:gd name="T51" fmla="*/ 4 h 296"/>
                  <a:gd name="T52" fmla="*/ 1 w 152"/>
                  <a:gd name="T53" fmla="*/ 4 h 296"/>
                  <a:gd name="T54" fmla="*/ 1 w 152"/>
                  <a:gd name="T55" fmla="*/ 3 h 296"/>
                  <a:gd name="T56" fmla="*/ 1 w 152"/>
                  <a:gd name="T57" fmla="*/ 3 h 296"/>
                  <a:gd name="T58" fmla="*/ 1 w 152"/>
                  <a:gd name="T59" fmla="*/ 3 h 296"/>
                  <a:gd name="T60" fmla="*/ 1 w 152"/>
                  <a:gd name="T61" fmla="*/ 3 h 296"/>
                  <a:gd name="T62" fmla="*/ 1 w 152"/>
                  <a:gd name="T63" fmla="*/ 3 h 296"/>
                  <a:gd name="T64" fmla="*/ 1 w 152"/>
                  <a:gd name="T65" fmla="*/ 3 h 296"/>
                  <a:gd name="T66" fmla="*/ 0 w 152"/>
                  <a:gd name="T67" fmla="*/ 3 h 296"/>
                  <a:gd name="T68" fmla="*/ 0 w 152"/>
                  <a:gd name="T69" fmla="*/ 3 h 296"/>
                  <a:gd name="T70" fmla="*/ 0 w 152"/>
                  <a:gd name="T71" fmla="*/ 3 h 296"/>
                  <a:gd name="T72" fmla="*/ 0 w 152"/>
                  <a:gd name="T73" fmla="*/ 2 h 296"/>
                  <a:gd name="T74" fmla="*/ 0 w 152"/>
                  <a:gd name="T75" fmla="*/ 2 h 296"/>
                  <a:gd name="T76" fmla="*/ 0 w 152"/>
                  <a:gd name="T77" fmla="*/ 2 h 296"/>
                  <a:gd name="T78" fmla="*/ 0 w 152"/>
                  <a:gd name="T79" fmla="*/ 2 h 296"/>
                  <a:gd name="T80" fmla="*/ 0 w 152"/>
                  <a:gd name="T81" fmla="*/ 1 h 296"/>
                  <a:gd name="T82" fmla="*/ 0 w 152"/>
                  <a:gd name="T83" fmla="*/ 1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6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7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8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599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0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1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2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3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4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5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6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 w 59"/>
                  <a:gd name="T1" fmla="*/ 0 h 25"/>
                  <a:gd name="T2" fmla="*/ 1 w 59"/>
                  <a:gd name="T3" fmla="*/ 0 h 25"/>
                  <a:gd name="T4" fmla="*/ 1 w 59"/>
                  <a:gd name="T5" fmla="*/ 0 h 25"/>
                  <a:gd name="T6" fmla="*/ 1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1 w 59"/>
                  <a:gd name="T27" fmla="*/ 0 h 25"/>
                  <a:gd name="T28" fmla="*/ 1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07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608" name="Freeform 307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627" y="2852"/>
              <a:ext cx="9" cy="35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09" name="Freeform 308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4675" y="2814"/>
              <a:ext cx="14" cy="37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0" name="Freeform 309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4705" y="2738"/>
              <a:ext cx="15" cy="36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1" name="Freeform 310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695" y="2719"/>
              <a:ext cx="16" cy="36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2" name="Freeform 311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585" y="2654"/>
              <a:ext cx="5" cy="36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3" name="Freeform 312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539" y="2739"/>
              <a:ext cx="19" cy="37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4" name="Freeform 313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544" y="2856"/>
              <a:ext cx="12" cy="35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5" name="Freeform 314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615" y="2742"/>
              <a:ext cx="7" cy="36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6" name="Freeform 315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527" y="2739"/>
              <a:ext cx="12" cy="37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7" name="Freeform 316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555" y="2769"/>
              <a:ext cx="19" cy="36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8" name="Freeform 317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4430" y="2897"/>
              <a:ext cx="29" cy="37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19" name="Freeform 318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4492" y="2921"/>
              <a:ext cx="9" cy="37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0" name="Freeform 319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4387" y="2878"/>
              <a:ext cx="23" cy="35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1" name="Freeform 320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4415" y="2869"/>
              <a:ext cx="25" cy="35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2" name="Freeform 321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4448" y="2875"/>
              <a:ext cx="23" cy="37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3" name="Freeform 322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4481" y="2878"/>
              <a:ext cx="16" cy="35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4" name="Freeform 323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4527" y="2873"/>
              <a:ext cx="1" cy="35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5" name="Freeform 324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4259" y="2756"/>
              <a:ext cx="13" cy="37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6" name="Freeform 325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4225" y="2739"/>
              <a:ext cx="19" cy="37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7" name="Freeform 326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4121" y="2729"/>
              <a:ext cx="5" cy="36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8" name="Line 327" descr="Horizontal dunkel"/>
            <p:cNvSpPr>
              <a:spLocks noChangeShapeType="1"/>
            </p:cNvSpPr>
            <p:nvPr>
              <p:custDataLst>
                <p:tags r:id="rId210"/>
              </p:custDataLst>
            </p:nvPr>
          </p:nvSpPr>
          <p:spPr bwMode="auto">
            <a:xfrm>
              <a:off x="4137" y="2752"/>
              <a:ext cx="3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29" name="Freeform 32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4135" y="2752"/>
              <a:ext cx="5" cy="36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0" name="Freeform 32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4073" y="2654"/>
              <a:ext cx="14" cy="36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1" name="Freeform 33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4406" y="2883"/>
              <a:ext cx="7" cy="36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2" name="Freeform 33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4731" y="2856"/>
              <a:ext cx="18" cy="35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3" name="Freeform 33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4062" y="2593"/>
              <a:ext cx="173" cy="232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4" name="Freeform 33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4277" y="2624"/>
              <a:ext cx="160" cy="162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5" name="Freeform 33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4501" y="2880"/>
              <a:ext cx="58" cy="36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6" name="Freeform 33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4574" y="2670"/>
              <a:ext cx="27" cy="56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7" name="Freeform 33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4582" y="2761"/>
              <a:ext cx="45" cy="35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8" name="Freeform 33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4630" y="2713"/>
              <a:ext cx="54" cy="40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39" name="Freeform 33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4434" y="2674"/>
              <a:ext cx="105" cy="145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0" name="Freeform 33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4223" y="2826"/>
              <a:ext cx="158" cy="60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1" name="Freeform 34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4652" y="2736"/>
              <a:ext cx="135" cy="159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2" name="Freeform 34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3727" y="2000"/>
              <a:ext cx="34" cy="38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43" name="Freeform 34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2755" y="1625"/>
              <a:ext cx="139" cy="112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44" name="Freeform 34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2795" y="1754"/>
              <a:ext cx="92" cy="45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5" name="Freeform 34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2858" y="1537"/>
              <a:ext cx="70" cy="41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6" name="Freeform 34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2866" y="1756"/>
              <a:ext cx="113" cy="90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47" name="Freeform 34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1606" y="2410"/>
              <a:ext cx="9" cy="35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48" name="Freeform 347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2932" y="1751"/>
              <a:ext cx="54" cy="50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49" name="Freeform 34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2880" y="1677"/>
              <a:ext cx="240" cy="156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50" name="Freeform 34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3202" y="1893"/>
              <a:ext cx="30" cy="4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1" name="Freeform 35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3544" y="1902"/>
              <a:ext cx="131" cy="77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2" name="Freeform 35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3575" y="1857"/>
              <a:ext cx="142" cy="79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3" name="Freeform 35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3327" y="1867"/>
              <a:ext cx="216" cy="143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4" name="Freeform 35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2829" y="1796"/>
              <a:ext cx="68" cy="94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55" name="Freeform 35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2859" y="1864"/>
              <a:ext cx="43" cy="38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56" name="Freeform 35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2912" y="2257"/>
              <a:ext cx="259" cy="385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7" name="Freeform 35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3217" y="2471"/>
              <a:ext cx="154" cy="272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8" name="Freeform 35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3222" y="2463"/>
              <a:ext cx="24" cy="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59" name="Freeform 35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3095" y="2407"/>
              <a:ext cx="229" cy="23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60" name="Line 359"/>
            <p:cNvSpPr>
              <a:spLocks noChangeShapeType="1"/>
            </p:cNvSpPr>
            <p:nvPr>
              <p:custDataLst>
                <p:tags r:id="rId242"/>
              </p:custDataLst>
            </p:nvPr>
          </p:nvSpPr>
          <p:spPr bwMode="auto">
            <a:xfrm flipH="1">
              <a:off x="1117" y="2734"/>
              <a:ext cx="3" cy="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661" name="Freeform 36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1117" y="2739"/>
              <a:ext cx="8" cy="37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62" name="Freeform 36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1122" y="2731"/>
              <a:ext cx="3" cy="36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1" name="Group 362"/>
            <p:cNvGrpSpPr>
              <a:grpSpLocks/>
            </p:cNvGrpSpPr>
            <p:nvPr>
              <p:custDataLst>
                <p:tags r:id="rId245"/>
              </p:custDataLst>
            </p:nvPr>
          </p:nvGrpSpPr>
          <p:grpSpPr bwMode="auto">
            <a:xfrm>
              <a:off x="1117" y="2690"/>
              <a:ext cx="263" cy="127"/>
              <a:chOff x="912" y="2626"/>
              <a:chExt cx="311" cy="127"/>
            </a:xfrm>
          </p:grpSpPr>
          <p:sp>
            <p:nvSpPr>
              <p:cNvPr id="1207664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 w 352"/>
                  <a:gd name="T1" fmla="*/ 1 h 387"/>
                  <a:gd name="T2" fmla="*/ 3 w 352"/>
                  <a:gd name="T3" fmla="*/ 1 h 387"/>
                  <a:gd name="T4" fmla="*/ 3 w 352"/>
                  <a:gd name="T5" fmla="*/ 1 h 387"/>
                  <a:gd name="T6" fmla="*/ 3 w 352"/>
                  <a:gd name="T7" fmla="*/ 1 h 387"/>
                  <a:gd name="T8" fmla="*/ 2 w 352"/>
                  <a:gd name="T9" fmla="*/ 1 h 387"/>
                  <a:gd name="T10" fmla="*/ 2 w 352"/>
                  <a:gd name="T11" fmla="*/ 0 h 387"/>
                  <a:gd name="T12" fmla="*/ 1 w 352"/>
                  <a:gd name="T13" fmla="*/ 0 h 387"/>
                  <a:gd name="T14" fmla="*/ 1 w 352"/>
                  <a:gd name="T15" fmla="*/ 0 h 387"/>
                  <a:gd name="T16" fmla="*/ 1 w 352"/>
                  <a:gd name="T17" fmla="*/ 0 h 387"/>
                  <a:gd name="T18" fmla="*/ 1 w 352"/>
                  <a:gd name="T19" fmla="*/ 0 h 387"/>
                  <a:gd name="T20" fmla="*/ 1 w 352"/>
                  <a:gd name="T21" fmla="*/ 1 h 387"/>
                  <a:gd name="T22" fmla="*/ 1 w 352"/>
                  <a:gd name="T23" fmla="*/ 1 h 387"/>
                  <a:gd name="T24" fmla="*/ 0 w 352"/>
                  <a:gd name="T25" fmla="*/ 2 h 387"/>
                  <a:gd name="T26" fmla="*/ 0 w 352"/>
                  <a:gd name="T27" fmla="*/ 2 h 387"/>
                  <a:gd name="T28" fmla="*/ 0 w 352"/>
                  <a:gd name="T29" fmla="*/ 2 h 387"/>
                  <a:gd name="T30" fmla="*/ 0 w 352"/>
                  <a:gd name="T31" fmla="*/ 2 h 387"/>
                  <a:gd name="T32" fmla="*/ 0 w 352"/>
                  <a:gd name="T33" fmla="*/ 3 h 387"/>
                  <a:gd name="T34" fmla="*/ 0 w 352"/>
                  <a:gd name="T35" fmla="*/ 3 h 387"/>
                  <a:gd name="T36" fmla="*/ 0 w 352"/>
                  <a:gd name="T37" fmla="*/ 3 h 387"/>
                  <a:gd name="T38" fmla="*/ 0 w 352"/>
                  <a:gd name="T39" fmla="*/ 3 h 387"/>
                  <a:gd name="T40" fmla="*/ 0 w 352"/>
                  <a:gd name="T41" fmla="*/ 3 h 387"/>
                  <a:gd name="T42" fmla="*/ 1 w 352"/>
                  <a:gd name="T43" fmla="*/ 3 h 387"/>
                  <a:gd name="T44" fmla="*/ 1 w 352"/>
                  <a:gd name="T45" fmla="*/ 3 h 387"/>
                  <a:gd name="T46" fmla="*/ 1 w 352"/>
                  <a:gd name="T47" fmla="*/ 3 h 387"/>
                  <a:gd name="T48" fmla="*/ 1 w 352"/>
                  <a:gd name="T49" fmla="*/ 3 h 387"/>
                  <a:gd name="T50" fmla="*/ 1 w 352"/>
                  <a:gd name="T51" fmla="*/ 3 h 387"/>
                  <a:gd name="T52" fmla="*/ 1 w 352"/>
                  <a:gd name="T53" fmla="*/ 3 h 387"/>
                  <a:gd name="T54" fmla="*/ 1 w 352"/>
                  <a:gd name="T55" fmla="*/ 3 h 387"/>
                  <a:gd name="T56" fmla="*/ 1 w 352"/>
                  <a:gd name="T57" fmla="*/ 3 h 387"/>
                  <a:gd name="T58" fmla="*/ 1 w 352"/>
                  <a:gd name="T59" fmla="*/ 4 h 387"/>
                  <a:gd name="T60" fmla="*/ 1 w 352"/>
                  <a:gd name="T61" fmla="*/ 4 h 387"/>
                  <a:gd name="T62" fmla="*/ 1 w 352"/>
                  <a:gd name="T63" fmla="*/ 4 h 387"/>
                  <a:gd name="T64" fmla="*/ 1 w 352"/>
                  <a:gd name="T65" fmla="*/ 4 h 387"/>
                  <a:gd name="T66" fmla="*/ 2 w 352"/>
                  <a:gd name="T67" fmla="*/ 4 h 387"/>
                  <a:gd name="T68" fmla="*/ 2 w 352"/>
                  <a:gd name="T69" fmla="*/ 5 h 387"/>
                  <a:gd name="T70" fmla="*/ 2 w 352"/>
                  <a:gd name="T71" fmla="*/ 4 h 387"/>
                  <a:gd name="T72" fmla="*/ 2 w 352"/>
                  <a:gd name="T73" fmla="*/ 4 h 387"/>
                  <a:gd name="T74" fmla="*/ 2 w 352"/>
                  <a:gd name="T75" fmla="*/ 4 h 387"/>
                  <a:gd name="T76" fmla="*/ 2 w 352"/>
                  <a:gd name="T77" fmla="*/ 4 h 387"/>
                  <a:gd name="T78" fmla="*/ 2 w 352"/>
                  <a:gd name="T79" fmla="*/ 4 h 387"/>
                  <a:gd name="T80" fmla="*/ 2 w 352"/>
                  <a:gd name="T81" fmla="*/ 4 h 387"/>
                  <a:gd name="T82" fmla="*/ 2 w 352"/>
                  <a:gd name="T83" fmla="*/ 3 h 387"/>
                  <a:gd name="T84" fmla="*/ 3 w 352"/>
                  <a:gd name="T85" fmla="*/ 3 h 387"/>
                  <a:gd name="T86" fmla="*/ 3 w 352"/>
                  <a:gd name="T87" fmla="*/ 3 h 387"/>
                  <a:gd name="T88" fmla="*/ 3 w 352"/>
                  <a:gd name="T89" fmla="*/ 3 h 387"/>
                  <a:gd name="T90" fmla="*/ 4 w 352"/>
                  <a:gd name="T91" fmla="*/ 3 h 387"/>
                  <a:gd name="T92" fmla="*/ 4 w 352"/>
                  <a:gd name="T93" fmla="*/ 2 h 387"/>
                  <a:gd name="T94" fmla="*/ 4 w 352"/>
                  <a:gd name="T95" fmla="*/ 2 h 387"/>
                  <a:gd name="T96" fmla="*/ 4 w 352"/>
                  <a:gd name="T97" fmla="*/ 2 h 387"/>
                  <a:gd name="T98" fmla="*/ 4 w 352"/>
                  <a:gd name="T99" fmla="*/ 2 h 387"/>
                  <a:gd name="T100" fmla="*/ 4 w 352"/>
                  <a:gd name="T101" fmla="*/ 1 h 387"/>
                  <a:gd name="T102" fmla="*/ 4 w 352"/>
                  <a:gd name="T103" fmla="*/ 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65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0 w 52"/>
                  <a:gd name="T1" fmla="*/ 0 h 78"/>
                  <a:gd name="T2" fmla="*/ 0 w 52"/>
                  <a:gd name="T3" fmla="*/ 0 h 78"/>
                  <a:gd name="T4" fmla="*/ 0 w 52"/>
                  <a:gd name="T5" fmla="*/ 0 h 78"/>
                  <a:gd name="T6" fmla="*/ 0 w 52"/>
                  <a:gd name="T7" fmla="*/ 0 h 78"/>
                  <a:gd name="T8" fmla="*/ 0 w 52"/>
                  <a:gd name="T9" fmla="*/ 0 h 78"/>
                  <a:gd name="T10" fmla="*/ 0 w 52"/>
                  <a:gd name="T11" fmla="*/ 0 h 78"/>
                  <a:gd name="T12" fmla="*/ 1 w 52"/>
                  <a:gd name="T13" fmla="*/ 0 h 78"/>
                  <a:gd name="T14" fmla="*/ 1 w 52"/>
                  <a:gd name="T15" fmla="*/ 0 h 78"/>
                  <a:gd name="T16" fmla="*/ 1 w 52"/>
                  <a:gd name="T17" fmla="*/ 0 h 78"/>
                  <a:gd name="T18" fmla="*/ 1 w 52"/>
                  <a:gd name="T19" fmla="*/ 0 h 78"/>
                  <a:gd name="T20" fmla="*/ 1 w 52"/>
                  <a:gd name="T21" fmla="*/ 1 h 78"/>
                  <a:gd name="T22" fmla="*/ 1 w 52"/>
                  <a:gd name="T23" fmla="*/ 1 h 78"/>
                  <a:gd name="T24" fmla="*/ 1 w 52"/>
                  <a:gd name="T25" fmla="*/ 1 h 78"/>
                  <a:gd name="T26" fmla="*/ 1 w 52"/>
                  <a:gd name="T27" fmla="*/ 1 h 78"/>
                  <a:gd name="T28" fmla="*/ 1 w 52"/>
                  <a:gd name="T29" fmla="*/ 1 h 78"/>
                  <a:gd name="T30" fmla="*/ 0 w 52"/>
                  <a:gd name="T31" fmla="*/ 1 h 78"/>
                  <a:gd name="T32" fmla="*/ 0 w 52"/>
                  <a:gd name="T33" fmla="*/ 1 h 78"/>
                  <a:gd name="T34" fmla="*/ 0 w 52"/>
                  <a:gd name="T35" fmla="*/ 1 h 78"/>
                  <a:gd name="T36" fmla="*/ 0 w 52"/>
                  <a:gd name="T37" fmla="*/ 1 h 78"/>
                  <a:gd name="T38" fmla="*/ 0 w 52"/>
                  <a:gd name="T39" fmla="*/ 1 h 78"/>
                  <a:gd name="T40" fmla="*/ 0 w 52"/>
                  <a:gd name="T41" fmla="*/ 1 h 78"/>
                  <a:gd name="T42" fmla="*/ 0 w 52"/>
                  <a:gd name="T43" fmla="*/ 1 h 78"/>
                  <a:gd name="T44" fmla="*/ 0 w 52"/>
                  <a:gd name="T45" fmla="*/ 1 h 78"/>
                  <a:gd name="T46" fmla="*/ 0 w 52"/>
                  <a:gd name="T47" fmla="*/ 1 h 78"/>
                  <a:gd name="T48" fmla="*/ 0 w 52"/>
                  <a:gd name="T49" fmla="*/ 1 h 78"/>
                  <a:gd name="T50" fmla="*/ 0 w 52"/>
                  <a:gd name="T51" fmla="*/ 1 h 78"/>
                  <a:gd name="T52" fmla="*/ 0 w 52"/>
                  <a:gd name="T53" fmla="*/ 1 h 78"/>
                  <a:gd name="T54" fmla="*/ 0 w 52"/>
                  <a:gd name="T55" fmla="*/ 1 h 78"/>
                  <a:gd name="T56" fmla="*/ 0 w 52"/>
                  <a:gd name="T57" fmla="*/ 1 h 78"/>
                  <a:gd name="T58" fmla="*/ 0 w 52"/>
                  <a:gd name="T59" fmla="*/ 1 h 78"/>
                  <a:gd name="T60" fmla="*/ 0 w 52"/>
                  <a:gd name="T61" fmla="*/ 1 h 78"/>
                  <a:gd name="T62" fmla="*/ 0 w 52"/>
                  <a:gd name="T63" fmla="*/ 0 h 78"/>
                  <a:gd name="T64" fmla="*/ 0 w 52"/>
                  <a:gd name="T65" fmla="*/ 0 h 78"/>
                  <a:gd name="T66" fmla="*/ 0 w 52"/>
                  <a:gd name="T67" fmla="*/ 0 h 78"/>
                  <a:gd name="T68" fmla="*/ 0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66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0 h 30"/>
                  <a:gd name="T4" fmla="*/ 0 w 33"/>
                  <a:gd name="T5" fmla="*/ 0 h 30"/>
                  <a:gd name="T6" fmla="*/ 0 w 33"/>
                  <a:gd name="T7" fmla="*/ 0 h 30"/>
                  <a:gd name="T8" fmla="*/ 0 w 33"/>
                  <a:gd name="T9" fmla="*/ 0 h 30"/>
                  <a:gd name="T10" fmla="*/ 0 w 33"/>
                  <a:gd name="T11" fmla="*/ 0 h 30"/>
                  <a:gd name="T12" fmla="*/ 0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667" name="Freeform 366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3415" y="3142"/>
              <a:ext cx="12" cy="37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68" name="Freeform 367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397" y="3159"/>
              <a:ext cx="15" cy="36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2" name="Group 368"/>
            <p:cNvGrpSpPr>
              <a:grpSpLocks/>
            </p:cNvGrpSpPr>
            <p:nvPr>
              <p:custDataLst>
                <p:tags r:id="rId248"/>
              </p:custDataLst>
            </p:nvPr>
          </p:nvGrpSpPr>
          <p:grpSpPr bwMode="auto">
            <a:xfrm>
              <a:off x="3297" y="2839"/>
              <a:ext cx="106" cy="65"/>
              <a:chOff x="3481" y="2773"/>
              <a:chExt cx="125" cy="65"/>
            </a:xfrm>
          </p:grpSpPr>
          <p:sp>
            <p:nvSpPr>
              <p:cNvPr id="1207670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1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2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3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4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5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6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7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8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79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80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681" name="Freeform 380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748" y="2834"/>
              <a:ext cx="201" cy="239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82" name="Freeform 381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2755" y="2817"/>
              <a:ext cx="10" cy="38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83" name="Freeform 382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2819" y="3159"/>
              <a:ext cx="250" cy="251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684" name="Freeform 383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2912" y="2257"/>
              <a:ext cx="259" cy="385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3" name="Group 384"/>
            <p:cNvGrpSpPr>
              <a:grpSpLocks/>
            </p:cNvGrpSpPr>
            <p:nvPr>
              <p:custDataLst>
                <p:tags r:id="rId253"/>
              </p:custDataLst>
            </p:nvPr>
          </p:nvGrpSpPr>
          <p:grpSpPr bwMode="auto">
            <a:xfrm>
              <a:off x="2146" y="2384"/>
              <a:ext cx="51" cy="52"/>
              <a:chOff x="2352" y="2343"/>
              <a:chExt cx="65" cy="53"/>
            </a:xfrm>
          </p:grpSpPr>
          <p:sp>
            <p:nvSpPr>
              <p:cNvPr id="1207686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0 w 51"/>
                  <a:gd name="T1" fmla="*/ 0 h 33"/>
                  <a:gd name="T2" fmla="*/ 0 w 51"/>
                  <a:gd name="T3" fmla="*/ 0 h 33"/>
                  <a:gd name="T4" fmla="*/ 0 w 51"/>
                  <a:gd name="T5" fmla="*/ 0 h 33"/>
                  <a:gd name="T6" fmla="*/ 0 w 51"/>
                  <a:gd name="T7" fmla="*/ 0 h 33"/>
                  <a:gd name="T8" fmla="*/ 0 w 51"/>
                  <a:gd name="T9" fmla="*/ 0 h 33"/>
                  <a:gd name="T10" fmla="*/ 1 w 51"/>
                  <a:gd name="T11" fmla="*/ 0 h 33"/>
                  <a:gd name="T12" fmla="*/ 1 w 51"/>
                  <a:gd name="T13" fmla="*/ 0 h 33"/>
                  <a:gd name="T14" fmla="*/ 0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87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1 w 61"/>
                  <a:gd name="T1" fmla="*/ 0 h 20"/>
                  <a:gd name="T2" fmla="*/ 1 w 61"/>
                  <a:gd name="T3" fmla="*/ 0 h 20"/>
                  <a:gd name="T4" fmla="*/ 0 w 61"/>
                  <a:gd name="T5" fmla="*/ 0 h 20"/>
                  <a:gd name="T6" fmla="*/ 0 w 61"/>
                  <a:gd name="T7" fmla="*/ 0 h 20"/>
                  <a:gd name="T8" fmla="*/ 0 w 61"/>
                  <a:gd name="T9" fmla="*/ 0 h 20"/>
                  <a:gd name="T10" fmla="*/ 0 w 61"/>
                  <a:gd name="T11" fmla="*/ 0 h 20"/>
                  <a:gd name="T12" fmla="*/ 1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88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0 h 36"/>
                  <a:gd name="T4" fmla="*/ 0 w 15"/>
                  <a:gd name="T5" fmla="*/ 0 h 36"/>
                  <a:gd name="T6" fmla="*/ 0 w 15"/>
                  <a:gd name="T7" fmla="*/ 0 h 36"/>
                  <a:gd name="T8" fmla="*/ 0 w 15"/>
                  <a:gd name="T9" fmla="*/ 0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89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0 w 37"/>
                  <a:gd name="T3" fmla="*/ 0 h 33"/>
                  <a:gd name="T4" fmla="*/ 0 w 37"/>
                  <a:gd name="T5" fmla="*/ 0 h 33"/>
                  <a:gd name="T6" fmla="*/ 0 w 37"/>
                  <a:gd name="T7" fmla="*/ 0 h 33"/>
                  <a:gd name="T8" fmla="*/ 0 w 37"/>
                  <a:gd name="T9" fmla="*/ 0 h 33"/>
                  <a:gd name="T10" fmla="*/ 0 w 37"/>
                  <a:gd name="T11" fmla="*/ 0 h 33"/>
                  <a:gd name="T12" fmla="*/ 0 w 37"/>
                  <a:gd name="T13" fmla="*/ 0 h 33"/>
                  <a:gd name="T14" fmla="*/ 0 w 37"/>
                  <a:gd name="T15" fmla="*/ 0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0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1 h 54"/>
                  <a:gd name="T6" fmla="*/ 0 w 49"/>
                  <a:gd name="T7" fmla="*/ 1 h 54"/>
                  <a:gd name="T8" fmla="*/ 1 w 49"/>
                  <a:gd name="T9" fmla="*/ 1 h 54"/>
                  <a:gd name="T10" fmla="*/ 1 w 49"/>
                  <a:gd name="T11" fmla="*/ 0 h 54"/>
                  <a:gd name="T12" fmla="*/ 0 w 49"/>
                  <a:gd name="T13" fmla="*/ 0 h 54"/>
                  <a:gd name="T14" fmla="*/ 0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1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0 w 26"/>
                  <a:gd name="T1" fmla="*/ 0 h 22"/>
                  <a:gd name="T2" fmla="*/ 0 w 26"/>
                  <a:gd name="T3" fmla="*/ 0 h 22"/>
                  <a:gd name="T4" fmla="*/ 0 w 26"/>
                  <a:gd name="T5" fmla="*/ 0 h 22"/>
                  <a:gd name="T6" fmla="*/ 0 w 26"/>
                  <a:gd name="T7" fmla="*/ 0 h 22"/>
                  <a:gd name="T8" fmla="*/ 0 w 26"/>
                  <a:gd name="T9" fmla="*/ 0 h 22"/>
                  <a:gd name="T10" fmla="*/ 0 w 26"/>
                  <a:gd name="T11" fmla="*/ 0 h 22"/>
                  <a:gd name="T12" fmla="*/ 0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4" name="Group 391"/>
            <p:cNvGrpSpPr>
              <a:grpSpLocks/>
            </p:cNvGrpSpPr>
            <p:nvPr>
              <p:custDataLst>
                <p:tags r:id="rId254"/>
              </p:custDataLst>
            </p:nvPr>
          </p:nvGrpSpPr>
          <p:grpSpPr bwMode="auto">
            <a:xfrm>
              <a:off x="789" y="1162"/>
              <a:ext cx="1195" cy="714"/>
              <a:chOff x="527" y="1110"/>
              <a:chExt cx="1410" cy="709"/>
            </a:xfrm>
          </p:grpSpPr>
          <p:sp>
            <p:nvSpPr>
              <p:cNvPr id="120769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0 h 54"/>
                  <a:gd name="T2" fmla="*/ 0 w 98"/>
                  <a:gd name="T3" fmla="*/ 0 h 54"/>
                  <a:gd name="T4" fmla="*/ 0 w 98"/>
                  <a:gd name="T5" fmla="*/ 1 h 54"/>
                  <a:gd name="T6" fmla="*/ 0 w 98"/>
                  <a:gd name="T7" fmla="*/ 1 h 54"/>
                  <a:gd name="T8" fmla="*/ 0 w 98"/>
                  <a:gd name="T9" fmla="*/ 1 h 54"/>
                  <a:gd name="T10" fmla="*/ 0 w 98"/>
                  <a:gd name="T11" fmla="*/ 1 h 54"/>
                  <a:gd name="T12" fmla="*/ 0 w 98"/>
                  <a:gd name="T13" fmla="*/ 1 h 54"/>
                  <a:gd name="T14" fmla="*/ 1 w 98"/>
                  <a:gd name="T15" fmla="*/ 1 h 54"/>
                  <a:gd name="T16" fmla="*/ 1 w 98"/>
                  <a:gd name="T17" fmla="*/ 1 h 54"/>
                  <a:gd name="T18" fmla="*/ 1 w 98"/>
                  <a:gd name="T19" fmla="*/ 0 h 54"/>
                  <a:gd name="T20" fmla="*/ 1 w 98"/>
                  <a:gd name="T21" fmla="*/ 0 h 54"/>
                  <a:gd name="T22" fmla="*/ 1 w 98"/>
                  <a:gd name="T23" fmla="*/ 0 h 54"/>
                  <a:gd name="T24" fmla="*/ 1 w 98"/>
                  <a:gd name="T25" fmla="*/ 0 h 54"/>
                  <a:gd name="T26" fmla="*/ 1 w 98"/>
                  <a:gd name="T27" fmla="*/ 0 h 54"/>
                  <a:gd name="T28" fmla="*/ 1 w 98"/>
                  <a:gd name="T29" fmla="*/ 0 h 54"/>
                  <a:gd name="T30" fmla="*/ 1 w 98"/>
                  <a:gd name="T31" fmla="*/ 0 h 54"/>
                  <a:gd name="T32" fmla="*/ 1 w 98"/>
                  <a:gd name="T33" fmla="*/ 0 h 54"/>
                  <a:gd name="T34" fmla="*/ 1 w 98"/>
                  <a:gd name="T35" fmla="*/ 0 h 54"/>
                  <a:gd name="T36" fmla="*/ 1 w 98"/>
                  <a:gd name="T37" fmla="*/ 0 h 54"/>
                  <a:gd name="T38" fmla="*/ 1 w 98"/>
                  <a:gd name="T39" fmla="*/ 0 h 54"/>
                  <a:gd name="T40" fmla="*/ 1 w 98"/>
                  <a:gd name="T41" fmla="*/ 0 h 54"/>
                  <a:gd name="T42" fmla="*/ 0 w 98"/>
                  <a:gd name="T43" fmla="*/ 0 h 54"/>
                  <a:gd name="T44" fmla="*/ 0 w 98"/>
                  <a:gd name="T45" fmla="*/ 0 h 54"/>
                  <a:gd name="T46" fmla="*/ 0 w 98"/>
                  <a:gd name="T47" fmla="*/ 0 h 54"/>
                  <a:gd name="T48" fmla="*/ 0 w 98"/>
                  <a:gd name="T49" fmla="*/ 0 h 54"/>
                  <a:gd name="T50" fmla="*/ 0 w 98"/>
                  <a:gd name="T51" fmla="*/ 0 h 54"/>
                  <a:gd name="T52" fmla="*/ 0 w 98"/>
                  <a:gd name="T53" fmla="*/ 0 h 54"/>
                  <a:gd name="T54" fmla="*/ 0 w 98"/>
                  <a:gd name="T55" fmla="*/ 0 h 54"/>
                  <a:gd name="T56" fmla="*/ 0 w 98"/>
                  <a:gd name="T57" fmla="*/ 0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0 h 28"/>
                  <a:gd name="T2" fmla="*/ 0 w 67"/>
                  <a:gd name="T3" fmla="*/ 0 h 28"/>
                  <a:gd name="T4" fmla="*/ 0 w 67"/>
                  <a:gd name="T5" fmla="*/ 0 h 28"/>
                  <a:gd name="T6" fmla="*/ 0 w 67"/>
                  <a:gd name="T7" fmla="*/ 0 h 28"/>
                  <a:gd name="T8" fmla="*/ 0 w 67"/>
                  <a:gd name="T9" fmla="*/ 0 h 28"/>
                  <a:gd name="T10" fmla="*/ 1 w 67"/>
                  <a:gd name="T11" fmla="*/ 0 h 28"/>
                  <a:gd name="T12" fmla="*/ 1 w 67"/>
                  <a:gd name="T13" fmla="*/ 0 h 28"/>
                  <a:gd name="T14" fmla="*/ 1 w 67"/>
                  <a:gd name="T15" fmla="*/ 0 h 28"/>
                  <a:gd name="T16" fmla="*/ 1 w 67"/>
                  <a:gd name="T17" fmla="*/ 0 h 28"/>
                  <a:gd name="T18" fmla="*/ 1 w 67"/>
                  <a:gd name="T19" fmla="*/ 0 h 28"/>
                  <a:gd name="T20" fmla="*/ 0 w 67"/>
                  <a:gd name="T21" fmla="*/ 0 h 28"/>
                  <a:gd name="T22" fmla="*/ 0 w 67"/>
                  <a:gd name="T23" fmla="*/ 0 h 28"/>
                  <a:gd name="T24" fmla="*/ 0 w 67"/>
                  <a:gd name="T25" fmla="*/ 0 h 28"/>
                  <a:gd name="T26" fmla="*/ 0 w 67"/>
                  <a:gd name="T27" fmla="*/ 0 h 28"/>
                  <a:gd name="T28" fmla="*/ 0 w 67"/>
                  <a:gd name="T29" fmla="*/ 0 h 28"/>
                  <a:gd name="T30" fmla="*/ 0 w 67"/>
                  <a:gd name="T31" fmla="*/ 0 h 28"/>
                  <a:gd name="T32" fmla="*/ 0 w 67"/>
                  <a:gd name="T33" fmla="*/ 0 h 28"/>
                  <a:gd name="T34" fmla="*/ 0 w 67"/>
                  <a:gd name="T35" fmla="*/ 0 h 28"/>
                  <a:gd name="T36" fmla="*/ 0 w 67"/>
                  <a:gd name="T37" fmla="*/ 0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0 h 36"/>
                  <a:gd name="T2" fmla="*/ 0 w 32"/>
                  <a:gd name="T3" fmla="*/ 0 h 36"/>
                  <a:gd name="T4" fmla="*/ 0 w 32"/>
                  <a:gd name="T5" fmla="*/ 0 h 36"/>
                  <a:gd name="T6" fmla="*/ 0 w 32"/>
                  <a:gd name="T7" fmla="*/ 0 h 36"/>
                  <a:gd name="T8" fmla="*/ 0 w 32"/>
                  <a:gd name="T9" fmla="*/ 0 h 36"/>
                  <a:gd name="T10" fmla="*/ 0 w 32"/>
                  <a:gd name="T11" fmla="*/ 0 h 36"/>
                  <a:gd name="T12" fmla="*/ 0 w 32"/>
                  <a:gd name="T13" fmla="*/ 0 h 36"/>
                  <a:gd name="T14" fmla="*/ 0 w 32"/>
                  <a:gd name="T15" fmla="*/ 0 h 36"/>
                  <a:gd name="T16" fmla="*/ 0 w 32"/>
                  <a:gd name="T17" fmla="*/ 0 h 36"/>
                  <a:gd name="T18" fmla="*/ 0 w 32"/>
                  <a:gd name="T19" fmla="*/ 0 h 36"/>
                  <a:gd name="T20" fmla="*/ 0 w 32"/>
                  <a:gd name="T21" fmla="*/ 0 h 36"/>
                  <a:gd name="T22" fmla="*/ 0 w 32"/>
                  <a:gd name="T23" fmla="*/ 0 h 36"/>
                  <a:gd name="T24" fmla="*/ 0 w 32"/>
                  <a:gd name="T25" fmla="*/ 0 h 36"/>
                  <a:gd name="T26" fmla="*/ 0 w 32"/>
                  <a:gd name="T27" fmla="*/ 0 h 36"/>
                  <a:gd name="T28" fmla="*/ 0 w 32"/>
                  <a:gd name="T29" fmla="*/ 0 h 36"/>
                  <a:gd name="T30" fmla="*/ 0 w 32"/>
                  <a:gd name="T31" fmla="*/ 0 h 36"/>
                  <a:gd name="T32" fmla="*/ 0 w 32"/>
                  <a:gd name="T33" fmla="*/ 0 h 36"/>
                  <a:gd name="T34" fmla="*/ 0 w 32"/>
                  <a:gd name="T35" fmla="*/ 0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 h 52"/>
                  <a:gd name="T2" fmla="*/ 0 w 146"/>
                  <a:gd name="T3" fmla="*/ 1 h 52"/>
                  <a:gd name="T4" fmla="*/ 0 w 146"/>
                  <a:gd name="T5" fmla="*/ 1 h 52"/>
                  <a:gd name="T6" fmla="*/ 0 w 146"/>
                  <a:gd name="T7" fmla="*/ 1 h 52"/>
                  <a:gd name="T8" fmla="*/ 0 w 146"/>
                  <a:gd name="T9" fmla="*/ 1 h 52"/>
                  <a:gd name="T10" fmla="*/ 1 w 146"/>
                  <a:gd name="T11" fmla="*/ 1 h 52"/>
                  <a:gd name="T12" fmla="*/ 1 w 146"/>
                  <a:gd name="T13" fmla="*/ 1 h 52"/>
                  <a:gd name="T14" fmla="*/ 1 w 146"/>
                  <a:gd name="T15" fmla="*/ 1 h 52"/>
                  <a:gd name="T16" fmla="*/ 1 w 146"/>
                  <a:gd name="T17" fmla="*/ 1 h 52"/>
                  <a:gd name="T18" fmla="*/ 1 w 146"/>
                  <a:gd name="T19" fmla="*/ 0 h 52"/>
                  <a:gd name="T20" fmla="*/ 1 w 146"/>
                  <a:gd name="T21" fmla="*/ 0 h 52"/>
                  <a:gd name="T22" fmla="*/ 1 w 146"/>
                  <a:gd name="T23" fmla="*/ 0 h 52"/>
                  <a:gd name="T24" fmla="*/ 1 w 146"/>
                  <a:gd name="T25" fmla="*/ 0 h 52"/>
                  <a:gd name="T26" fmla="*/ 1 w 146"/>
                  <a:gd name="T27" fmla="*/ 0 h 52"/>
                  <a:gd name="T28" fmla="*/ 1 w 146"/>
                  <a:gd name="T29" fmla="*/ 0 h 52"/>
                  <a:gd name="T30" fmla="*/ 1 w 146"/>
                  <a:gd name="T31" fmla="*/ 0 h 52"/>
                  <a:gd name="T32" fmla="*/ 1 w 146"/>
                  <a:gd name="T33" fmla="*/ 0 h 52"/>
                  <a:gd name="T34" fmla="*/ 1 w 146"/>
                  <a:gd name="T35" fmla="*/ 0 h 52"/>
                  <a:gd name="T36" fmla="*/ 1 w 146"/>
                  <a:gd name="T37" fmla="*/ 0 h 52"/>
                  <a:gd name="T38" fmla="*/ 1 w 146"/>
                  <a:gd name="T39" fmla="*/ 0 h 52"/>
                  <a:gd name="T40" fmla="*/ 1 w 146"/>
                  <a:gd name="T41" fmla="*/ 0 h 52"/>
                  <a:gd name="T42" fmla="*/ 1 w 146"/>
                  <a:gd name="T43" fmla="*/ 0 h 52"/>
                  <a:gd name="T44" fmla="*/ 1 w 146"/>
                  <a:gd name="T45" fmla="*/ 0 h 52"/>
                  <a:gd name="T46" fmla="*/ 0 w 146"/>
                  <a:gd name="T47" fmla="*/ 0 h 52"/>
                  <a:gd name="T48" fmla="*/ 0 w 146"/>
                  <a:gd name="T49" fmla="*/ 0 h 52"/>
                  <a:gd name="T50" fmla="*/ 0 w 146"/>
                  <a:gd name="T51" fmla="*/ 0 h 52"/>
                  <a:gd name="T52" fmla="*/ 0 w 146"/>
                  <a:gd name="T53" fmla="*/ 0 h 52"/>
                  <a:gd name="T54" fmla="*/ 0 w 146"/>
                  <a:gd name="T55" fmla="*/ 0 h 52"/>
                  <a:gd name="T56" fmla="*/ 0 w 146"/>
                  <a:gd name="T57" fmla="*/ 1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1 w 60"/>
                  <a:gd name="T1" fmla="*/ 0 h 31"/>
                  <a:gd name="T2" fmla="*/ 1 w 60"/>
                  <a:gd name="T3" fmla="*/ 0 h 31"/>
                  <a:gd name="T4" fmla="*/ 0 w 60"/>
                  <a:gd name="T5" fmla="*/ 0 h 31"/>
                  <a:gd name="T6" fmla="*/ 0 w 60"/>
                  <a:gd name="T7" fmla="*/ 0 h 31"/>
                  <a:gd name="T8" fmla="*/ 0 w 60"/>
                  <a:gd name="T9" fmla="*/ 0 h 31"/>
                  <a:gd name="T10" fmla="*/ 0 w 60"/>
                  <a:gd name="T11" fmla="*/ 0 h 31"/>
                  <a:gd name="T12" fmla="*/ 0 w 60"/>
                  <a:gd name="T13" fmla="*/ 0 h 31"/>
                  <a:gd name="T14" fmla="*/ 0 w 60"/>
                  <a:gd name="T15" fmla="*/ 0 h 31"/>
                  <a:gd name="T16" fmla="*/ 0 w 60"/>
                  <a:gd name="T17" fmla="*/ 0 h 31"/>
                  <a:gd name="T18" fmla="*/ 0 w 60"/>
                  <a:gd name="T19" fmla="*/ 0 h 31"/>
                  <a:gd name="T20" fmla="*/ 0 w 60"/>
                  <a:gd name="T21" fmla="*/ 0 h 31"/>
                  <a:gd name="T22" fmla="*/ 0 w 60"/>
                  <a:gd name="T23" fmla="*/ 0 h 31"/>
                  <a:gd name="T24" fmla="*/ 0 w 60"/>
                  <a:gd name="T25" fmla="*/ 0 h 31"/>
                  <a:gd name="T26" fmla="*/ 0 w 60"/>
                  <a:gd name="T27" fmla="*/ 0 h 31"/>
                  <a:gd name="T28" fmla="*/ 0 w 60"/>
                  <a:gd name="T29" fmla="*/ 0 h 31"/>
                  <a:gd name="T30" fmla="*/ 0 w 60"/>
                  <a:gd name="T31" fmla="*/ 0 h 31"/>
                  <a:gd name="T32" fmla="*/ 0 w 60"/>
                  <a:gd name="T33" fmla="*/ 0 h 31"/>
                  <a:gd name="T34" fmla="*/ 0 w 60"/>
                  <a:gd name="T35" fmla="*/ 0 h 31"/>
                  <a:gd name="T36" fmla="*/ 0 w 60"/>
                  <a:gd name="T37" fmla="*/ 0 h 31"/>
                  <a:gd name="T38" fmla="*/ 0 w 60"/>
                  <a:gd name="T39" fmla="*/ 0 h 31"/>
                  <a:gd name="T40" fmla="*/ 0 w 60"/>
                  <a:gd name="T41" fmla="*/ 0 h 31"/>
                  <a:gd name="T42" fmla="*/ 1 w 60"/>
                  <a:gd name="T43" fmla="*/ 0 h 31"/>
                  <a:gd name="T44" fmla="*/ 1 w 60"/>
                  <a:gd name="T45" fmla="*/ 0 h 31"/>
                  <a:gd name="T46" fmla="*/ 1 w 60"/>
                  <a:gd name="T47" fmla="*/ 0 h 31"/>
                  <a:gd name="T48" fmla="*/ 1 w 60"/>
                  <a:gd name="T49" fmla="*/ 0 h 31"/>
                  <a:gd name="T50" fmla="*/ 1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 h 62"/>
                  <a:gd name="T2" fmla="*/ 0 w 80"/>
                  <a:gd name="T3" fmla="*/ 1 h 62"/>
                  <a:gd name="T4" fmla="*/ 0 w 80"/>
                  <a:gd name="T5" fmla="*/ 1 h 62"/>
                  <a:gd name="T6" fmla="*/ 0 w 80"/>
                  <a:gd name="T7" fmla="*/ 1 h 62"/>
                  <a:gd name="T8" fmla="*/ 0 w 80"/>
                  <a:gd name="T9" fmla="*/ 1 h 62"/>
                  <a:gd name="T10" fmla="*/ 0 w 80"/>
                  <a:gd name="T11" fmla="*/ 1 h 62"/>
                  <a:gd name="T12" fmla="*/ 0 w 80"/>
                  <a:gd name="T13" fmla="*/ 1 h 62"/>
                  <a:gd name="T14" fmla="*/ 0 w 80"/>
                  <a:gd name="T15" fmla="*/ 1 h 62"/>
                  <a:gd name="T16" fmla="*/ 0 w 80"/>
                  <a:gd name="T17" fmla="*/ 1 h 62"/>
                  <a:gd name="T18" fmla="*/ 1 w 80"/>
                  <a:gd name="T19" fmla="*/ 1 h 62"/>
                  <a:gd name="T20" fmla="*/ 1 w 80"/>
                  <a:gd name="T21" fmla="*/ 1 h 62"/>
                  <a:gd name="T22" fmla="*/ 1 w 80"/>
                  <a:gd name="T23" fmla="*/ 1 h 62"/>
                  <a:gd name="T24" fmla="*/ 1 w 80"/>
                  <a:gd name="T25" fmla="*/ 1 h 62"/>
                  <a:gd name="T26" fmla="*/ 1 w 80"/>
                  <a:gd name="T27" fmla="*/ 1 h 62"/>
                  <a:gd name="T28" fmla="*/ 1 w 80"/>
                  <a:gd name="T29" fmla="*/ 0 h 62"/>
                  <a:gd name="T30" fmla="*/ 1 w 80"/>
                  <a:gd name="T31" fmla="*/ 0 h 62"/>
                  <a:gd name="T32" fmla="*/ 1 w 80"/>
                  <a:gd name="T33" fmla="*/ 0 h 62"/>
                  <a:gd name="T34" fmla="*/ 1 w 80"/>
                  <a:gd name="T35" fmla="*/ 0 h 62"/>
                  <a:gd name="T36" fmla="*/ 1 w 80"/>
                  <a:gd name="T37" fmla="*/ 0 h 62"/>
                  <a:gd name="T38" fmla="*/ 1 w 80"/>
                  <a:gd name="T39" fmla="*/ 0 h 62"/>
                  <a:gd name="T40" fmla="*/ 1 w 80"/>
                  <a:gd name="T41" fmla="*/ 0 h 62"/>
                  <a:gd name="T42" fmla="*/ 1 w 80"/>
                  <a:gd name="T43" fmla="*/ 0 h 62"/>
                  <a:gd name="T44" fmla="*/ 0 w 80"/>
                  <a:gd name="T45" fmla="*/ 0 h 62"/>
                  <a:gd name="T46" fmla="*/ 0 w 80"/>
                  <a:gd name="T47" fmla="*/ 0 h 62"/>
                  <a:gd name="T48" fmla="*/ 0 w 80"/>
                  <a:gd name="T49" fmla="*/ 0 h 62"/>
                  <a:gd name="T50" fmla="*/ 0 w 80"/>
                  <a:gd name="T51" fmla="*/ 0 h 62"/>
                  <a:gd name="T52" fmla="*/ 0 w 80"/>
                  <a:gd name="T53" fmla="*/ 0 h 62"/>
                  <a:gd name="T54" fmla="*/ 0 w 80"/>
                  <a:gd name="T55" fmla="*/ 0 h 62"/>
                  <a:gd name="T56" fmla="*/ 0 w 80"/>
                  <a:gd name="T57" fmla="*/ 1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69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1 w 106"/>
                  <a:gd name="T1" fmla="*/ 0 h 49"/>
                  <a:gd name="T2" fmla="*/ 1 w 106"/>
                  <a:gd name="T3" fmla="*/ 0 h 49"/>
                  <a:gd name="T4" fmla="*/ 1 w 106"/>
                  <a:gd name="T5" fmla="*/ 0 h 49"/>
                  <a:gd name="T6" fmla="*/ 1 w 106"/>
                  <a:gd name="T7" fmla="*/ 0 h 49"/>
                  <a:gd name="T8" fmla="*/ 1 w 106"/>
                  <a:gd name="T9" fmla="*/ 0 h 49"/>
                  <a:gd name="T10" fmla="*/ 1 w 106"/>
                  <a:gd name="T11" fmla="*/ 0 h 49"/>
                  <a:gd name="T12" fmla="*/ 0 w 106"/>
                  <a:gd name="T13" fmla="*/ 0 h 49"/>
                  <a:gd name="T14" fmla="*/ 0 w 106"/>
                  <a:gd name="T15" fmla="*/ 0 h 49"/>
                  <a:gd name="T16" fmla="*/ 0 w 106"/>
                  <a:gd name="T17" fmla="*/ 0 h 49"/>
                  <a:gd name="T18" fmla="*/ 0 w 106"/>
                  <a:gd name="T19" fmla="*/ 0 h 49"/>
                  <a:gd name="T20" fmla="*/ 0 w 106"/>
                  <a:gd name="T21" fmla="*/ 0 h 49"/>
                  <a:gd name="T22" fmla="*/ 0 w 106"/>
                  <a:gd name="T23" fmla="*/ 0 h 49"/>
                  <a:gd name="T24" fmla="*/ 0 w 106"/>
                  <a:gd name="T25" fmla="*/ 0 h 49"/>
                  <a:gd name="T26" fmla="*/ 0 w 106"/>
                  <a:gd name="T27" fmla="*/ 0 h 49"/>
                  <a:gd name="T28" fmla="*/ 0 w 106"/>
                  <a:gd name="T29" fmla="*/ 0 h 49"/>
                  <a:gd name="T30" fmla="*/ 0 w 106"/>
                  <a:gd name="T31" fmla="*/ 1 h 49"/>
                  <a:gd name="T32" fmla="*/ 1 w 106"/>
                  <a:gd name="T33" fmla="*/ 1 h 49"/>
                  <a:gd name="T34" fmla="*/ 1 w 106"/>
                  <a:gd name="T35" fmla="*/ 1 h 49"/>
                  <a:gd name="T36" fmla="*/ 1 w 106"/>
                  <a:gd name="T37" fmla="*/ 1 h 49"/>
                  <a:gd name="T38" fmla="*/ 1 w 106"/>
                  <a:gd name="T39" fmla="*/ 1 h 49"/>
                  <a:gd name="T40" fmla="*/ 1 w 106"/>
                  <a:gd name="T41" fmla="*/ 1 h 49"/>
                  <a:gd name="T42" fmla="*/ 1 w 106"/>
                  <a:gd name="T43" fmla="*/ 0 h 49"/>
                  <a:gd name="T44" fmla="*/ 1 w 106"/>
                  <a:gd name="T45" fmla="*/ 0 h 49"/>
                  <a:gd name="T46" fmla="*/ 1 w 106"/>
                  <a:gd name="T47" fmla="*/ 0 h 49"/>
                  <a:gd name="T48" fmla="*/ 1 w 106"/>
                  <a:gd name="T49" fmla="*/ 0 h 49"/>
                  <a:gd name="T50" fmla="*/ 1 w 106"/>
                  <a:gd name="T51" fmla="*/ 0 h 49"/>
                  <a:gd name="T52" fmla="*/ 1 w 106"/>
                  <a:gd name="T53" fmla="*/ 0 h 49"/>
                  <a:gd name="T54" fmla="*/ 1 w 106"/>
                  <a:gd name="T55" fmla="*/ 0 h 49"/>
                  <a:gd name="T56" fmla="*/ 1 w 106"/>
                  <a:gd name="T57" fmla="*/ 0 h 49"/>
                  <a:gd name="T58" fmla="*/ 1 w 106"/>
                  <a:gd name="T59" fmla="*/ 0 h 49"/>
                  <a:gd name="T60" fmla="*/ 1 w 106"/>
                  <a:gd name="T61" fmla="*/ 0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0 h 22"/>
                  <a:gd name="T2" fmla="*/ 0 w 47"/>
                  <a:gd name="T3" fmla="*/ 0 h 22"/>
                  <a:gd name="T4" fmla="*/ 0 w 47"/>
                  <a:gd name="T5" fmla="*/ 0 h 22"/>
                  <a:gd name="T6" fmla="*/ 0 w 47"/>
                  <a:gd name="T7" fmla="*/ 0 h 22"/>
                  <a:gd name="T8" fmla="*/ 0 w 47"/>
                  <a:gd name="T9" fmla="*/ 0 h 22"/>
                  <a:gd name="T10" fmla="*/ 0 w 47"/>
                  <a:gd name="T11" fmla="*/ 0 h 22"/>
                  <a:gd name="T12" fmla="*/ 0 w 47"/>
                  <a:gd name="T13" fmla="*/ 0 h 22"/>
                  <a:gd name="T14" fmla="*/ 0 w 47"/>
                  <a:gd name="T15" fmla="*/ 0 h 22"/>
                  <a:gd name="T16" fmla="*/ 0 w 47"/>
                  <a:gd name="T17" fmla="*/ 0 h 22"/>
                  <a:gd name="T18" fmla="*/ 0 w 47"/>
                  <a:gd name="T19" fmla="*/ 0 h 22"/>
                  <a:gd name="T20" fmla="*/ 1 w 47"/>
                  <a:gd name="T21" fmla="*/ 0 h 22"/>
                  <a:gd name="T22" fmla="*/ 0 w 47"/>
                  <a:gd name="T23" fmla="*/ 0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 w 53"/>
                  <a:gd name="T1" fmla="*/ 0 h 32"/>
                  <a:gd name="T2" fmla="*/ 0 w 53"/>
                  <a:gd name="T3" fmla="*/ 0 h 32"/>
                  <a:gd name="T4" fmla="*/ 0 w 53"/>
                  <a:gd name="T5" fmla="*/ 0 h 32"/>
                  <a:gd name="T6" fmla="*/ 0 w 53"/>
                  <a:gd name="T7" fmla="*/ 0 h 32"/>
                  <a:gd name="T8" fmla="*/ 0 w 53"/>
                  <a:gd name="T9" fmla="*/ 0 h 32"/>
                  <a:gd name="T10" fmla="*/ 0 w 53"/>
                  <a:gd name="T11" fmla="*/ 0 h 32"/>
                  <a:gd name="T12" fmla="*/ 0 w 53"/>
                  <a:gd name="T13" fmla="*/ 0 h 32"/>
                  <a:gd name="T14" fmla="*/ 0 w 53"/>
                  <a:gd name="T15" fmla="*/ 0 h 32"/>
                  <a:gd name="T16" fmla="*/ 1 w 53"/>
                  <a:gd name="T17" fmla="*/ 0 h 32"/>
                  <a:gd name="T18" fmla="*/ 1 w 53"/>
                  <a:gd name="T19" fmla="*/ 0 h 32"/>
                  <a:gd name="T20" fmla="*/ 1 w 53"/>
                  <a:gd name="T21" fmla="*/ 0 h 32"/>
                  <a:gd name="T22" fmla="*/ 1 w 53"/>
                  <a:gd name="T23" fmla="*/ 0 h 32"/>
                  <a:gd name="T24" fmla="*/ 1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0 w 46"/>
                  <a:gd name="T1" fmla="*/ 0 h 34"/>
                  <a:gd name="T2" fmla="*/ 0 w 46"/>
                  <a:gd name="T3" fmla="*/ 0 h 34"/>
                  <a:gd name="T4" fmla="*/ 0 w 46"/>
                  <a:gd name="T5" fmla="*/ 0 h 34"/>
                  <a:gd name="T6" fmla="*/ 0 w 46"/>
                  <a:gd name="T7" fmla="*/ 0 h 34"/>
                  <a:gd name="T8" fmla="*/ 0 w 46"/>
                  <a:gd name="T9" fmla="*/ 0 h 34"/>
                  <a:gd name="T10" fmla="*/ 0 w 46"/>
                  <a:gd name="T11" fmla="*/ 0 h 34"/>
                  <a:gd name="T12" fmla="*/ 0 w 46"/>
                  <a:gd name="T13" fmla="*/ 0 h 34"/>
                  <a:gd name="T14" fmla="*/ 0 w 46"/>
                  <a:gd name="T15" fmla="*/ 0 h 34"/>
                  <a:gd name="T16" fmla="*/ 0 w 46"/>
                  <a:gd name="T17" fmla="*/ 0 h 34"/>
                  <a:gd name="T18" fmla="*/ 0 w 46"/>
                  <a:gd name="T19" fmla="*/ 0 h 34"/>
                  <a:gd name="T20" fmla="*/ 0 w 46"/>
                  <a:gd name="T21" fmla="*/ 0 h 34"/>
                  <a:gd name="T22" fmla="*/ 0 w 46"/>
                  <a:gd name="T23" fmla="*/ 0 h 34"/>
                  <a:gd name="T24" fmla="*/ 0 w 46"/>
                  <a:gd name="T25" fmla="*/ 0 h 34"/>
                  <a:gd name="T26" fmla="*/ 0 w 46"/>
                  <a:gd name="T27" fmla="*/ 0 h 34"/>
                  <a:gd name="T28" fmla="*/ 0 w 46"/>
                  <a:gd name="T29" fmla="*/ 0 h 34"/>
                  <a:gd name="T30" fmla="*/ 0 w 46"/>
                  <a:gd name="T31" fmla="*/ 0 h 34"/>
                  <a:gd name="T32" fmla="*/ 0 w 46"/>
                  <a:gd name="T33" fmla="*/ 0 h 34"/>
                  <a:gd name="T34" fmla="*/ 0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0 h 25"/>
                  <a:gd name="T2" fmla="*/ 0 w 48"/>
                  <a:gd name="T3" fmla="*/ 0 h 25"/>
                  <a:gd name="T4" fmla="*/ 0 w 48"/>
                  <a:gd name="T5" fmla="*/ 0 h 25"/>
                  <a:gd name="T6" fmla="*/ 0 w 48"/>
                  <a:gd name="T7" fmla="*/ 0 h 25"/>
                  <a:gd name="T8" fmla="*/ 0 w 48"/>
                  <a:gd name="T9" fmla="*/ 0 h 25"/>
                  <a:gd name="T10" fmla="*/ 0 w 48"/>
                  <a:gd name="T11" fmla="*/ 0 h 25"/>
                  <a:gd name="T12" fmla="*/ 0 w 48"/>
                  <a:gd name="T13" fmla="*/ 0 h 25"/>
                  <a:gd name="T14" fmla="*/ 1 w 48"/>
                  <a:gd name="T15" fmla="*/ 0 h 25"/>
                  <a:gd name="T16" fmla="*/ 1 w 48"/>
                  <a:gd name="T17" fmla="*/ 0 h 25"/>
                  <a:gd name="T18" fmla="*/ 0 w 48"/>
                  <a:gd name="T19" fmla="*/ 0 h 25"/>
                  <a:gd name="T20" fmla="*/ 0 w 48"/>
                  <a:gd name="T21" fmla="*/ 0 h 25"/>
                  <a:gd name="T22" fmla="*/ 0 w 48"/>
                  <a:gd name="T23" fmla="*/ 0 h 25"/>
                  <a:gd name="T24" fmla="*/ 0 w 48"/>
                  <a:gd name="T25" fmla="*/ 0 h 25"/>
                  <a:gd name="T26" fmla="*/ 0 w 48"/>
                  <a:gd name="T27" fmla="*/ 0 h 25"/>
                  <a:gd name="T28" fmla="*/ 0 w 48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0 h 37"/>
                  <a:gd name="T4" fmla="*/ 0 w 30"/>
                  <a:gd name="T5" fmla="*/ 0 h 37"/>
                  <a:gd name="T6" fmla="*/ 0 w 30"/>
                  <a:gd name="T7" fmla="*/ 0 h 37"/>
                  <a:gd name="T8" fmla="*/ 0 w 30"/>
                  <a:gd name="T9" fmla="*/ 0 h 37"/>
                  <a:gd name="T10" fmla="*/ 0 w 30"/>
                  <a:gd name="T11" fmla="*/ 0 h 37"/>
                  <a:gd name="T12" fmla="*/ 0 w 30"/>
                  <a:gd name="T13" fmla="*/ 0 h 37"/>
                  <a:gd name="T14" fmla="*/ 0 w 30"/>
                  <a:gd name="T15" fmla="*/ 0 h 37"/>
                  <a:gd name="T16" fmla="*/ 0 w 30"/>
                  <a:gd name="T17" fmla="*/ 0 h 37"/>
                  <a:gd name="T18" fmla="*/ 0 w 30"/>
                  <a:gd name="T19" fmla="*/ 0 h 37"/>
                  <a:gd name="T20" fmla="*/ 0 w 30"/>
                  <a:gd name="T21" fmla="*/ 0 h 37"/>
                  <a:gd name="T22" fmla="*/ 0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0 w 113"/>
                  <a:gd name="T1" fmla="*/ 0 h 46"/>
                  <a:gd name="T2" fmla="*/ 0 w 113"/>
                  <a:gd name="T3" fmla="*/ 0 h 46"/>
                  <a:gd name="T4" fmla="*/ 0 w 113"/>
                  <a:gd name="T5" fmla="*/ 0 h 46"/>
                  <a:gd name="T6" fmla="*/ 0 w 113"/>
                  <a:gd name="T7" fmla="*/ 0 h 46"/>
                  <a:gd name="T8" fmla="*/ 0 w 113"/>
                  <a:gd name="T9" fmla="*/ 0 h 46"/>
                  <a:gd name="T10" fmla="*/ 0 w 113"/>
                  <a:gd name="T11" fmla="*/ 0 h 46"/>
                  <a:gd name="T12" fmla="*/ 0 w 113"/>
                  <a:gd name="T13" fmla="*/ 0 h 46"/>
                  <a:gd name="T14" fmla="*/ 0 w 113"/>
                  <a:gd name="T15" fmla="*/ 0 h 46"/>
                  <a:gd name="T16" fmla="*/ 0 w 113"/>
                  <a:gd name="T17" fmla="*/ 0 h 46"/>
                  <a:gd name="T18" fmla="*/ 0 w 113"/>
                  <a:gd name="T19" fmla="*/ 1 h 46"/>
                  <a:gd name="T20" fmla="*/ 0 w 113"/>
                  <a:gd name="T21" fmla="*/ 1 h 46"/>
                  <a:gd name="T22" fmla="*/ 0 w 113"/>
                  <a:gd name="T23" fmla="*/ 1 h 46"/>
                  <a:gd name="T24" fmla="*/ 0 w 113"/>
                  <a:gd name="T25" fmla="*/ 1 h 46"/>
                  <a:gd name="T26" fmla="*/ 0 w 113"/>
                  <a:gd name="T27" fmla="*/ 1 h 46"/>
                  <a:gd name="T28" fmla="*/ 0 w 113"/>
                  <a:gd name="T29" fmla="*/ 1 h 46"/>
                  <a:gd name="T30" fmla="*/ 1 w 113"/>
                  <a:gd name="T31" fmla="*/ 1 h 46"/>
                  <a:gd name="T32" fmla="*/ 1 w 113"/>
                  <a:gd name="T33" fmla="*/ 1 h 46"/>
                  <a:gd name="T34" fmla="*/ 1 w 113"/>
                  <a:gd name="T35" fmla="*/ 1 h 46"/>
                  <a:gd name="T36" fmla="*/ 1 w 113"/>
                  <a:gd name="T37" fmla="*/ 1 h 46"/>
                  <a:gd name="T38" fmla="*/ 1 w 113"/>
                  <a:gd name="T39" fmla="*/ 1 h 46"/>
                  <a:gd name="T40" fmla="*/ 1 w 113"/>
                  <a:gd name="T41" fmla="*/ 0 h 46"/>
                  <a:gd name="T42" fmla="*/ 1 w 113"/>
                  <a:gd name="T43" fmla="*/ 0 h 46"/>
                  <a:gd name="T44" fmla="*/ 1 w 113"/>
                  <a:gd name="T45" fmla="*/ 0 h 46"/>
                  <a:gd name="T46" fmla="*/ 1 w 113"/>
                  <a:gd name="T47" fmla="*/ 0 h 46"/>
                  <a:gd name="T48" fmla="*/ 1 w 113"/>
                  <a:gd name="T49" fmla="*/ 0 h 46"/>
                  <a:gd name="T50" fmla="*/ 1 w 113"/>
                  <a:gd name="T51" fmla="*/ 0 h 46"/>
                  <a:gd name="T52" fmla="*/ 1 w 113"/>
                  <a:gd name="T53" fmla="*/ 0 h 46"/>
                  <a:gd name="T54" fmla="*/ 1 w 113"/>
                  <a:gd name="T55" fmla="*/ 0 h 46"/>
                  <a:gd name="T56" fmla="*/ 1 w 113"/>
                  <a:gd name="T57" fmla="*/ 0 h 46"/>
                  <a:gd name="T58" fmla="*/ 1 w 113"/>
                  <a:gd name="T59" fmla="*/ 0 h 46"/>
                  <a:gd name="T60" fmla="*/ 0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1 h 82"/>
                  <a:gd name="T2" fmla="*/ 0 w 153"/>
                  <a:gd name="T3" fmla="*/ 1 h 82"/>
                  <a:gd name="T4" fmla="*/ 0 w 153"/>
                  <a:gd name="T5" fmla="*/ 1 h 82"/>
                  <a:gd name="T6" fmla="*/ 0 w 153"/>
                  <a:gd name="T7" fmla="*/ 1 h 82"/>
                  <a:gd name="T8" fmla="*/ 0 w 153"/>
                  <a:gd name="T9" fmla="*/ 1 h 82"/>
                  <a:gd name="T10" fmla="*/ 0 w 153"/>
                  <a:gd name="T11" fmla="*/ 1 h 82"/>
                  <a:gd name="T12" fmla="*/ 0 w 153"/>
                  <a:gd name="T13" fmla="*/ 1 h 82"/>
                  <a:gd name="T14" fmla="*/ 0 w 153"/>
                  <a:gd name="T15" fmla="*/ 1 h 82"/>
                  <a:gd name="T16" fmla="*/ 1 w 153"/>
                  <a:gd name="T17" fmla="*/ 1 h 82"/>
                  <a:gd name="T18" fmla="*/ 1 w 153"/>
                  <a:gd name="T19" fmla="*/ 1 h 82"/>
                  <a:gd name="T20" fmla="*/ 1 w 153"/>
                  <a:gd name="T21" fmla="*/ 1 h 82"/>
                  <a:gd name="T22" fmla="*/ 1 w 153"/>
                  <a:gd name="T23" fmla="*/ 1 h 82"/>
                  <a:gd name="T24" fmla="*/ 1 w 153"/>
                  <a:gd name="T25" fmla="*/ 1 h 82"/>
                  <a:gd name="T26" fmla="*/ 1 w 153"/>
                  <a:gd name="T27" fmla="*/ 1 h 82"/>
                  <a:gd name="T28" fmla="*/ 1 w 153"/>
                  <a:gd name="T29" fmla="*/ 1 h 82"/>
                  <a:gd name="T30" fmla="*/ 1 w 153"/>
                  <a:gd name="T31" fmla="*/ 1 h 82"/>
                  <a:gd name="T32" fmla="*/ 1 w 153"/>
                  <a:gd name="T33" fmla="*/ 0 h 82"/>
                  <a:gd name="T34" fmla="*/ 1 w 153"/>
                  <a:gd name="T35" fmla="*/ 0 h 82"/>
                  <a:gd name="T36" fmla="*/ 2 w 153"/>
                  <a:gd name="T37" fmla="*/ 0 h 82"/>
                  <a:gd name="T38" fmla="*/ 2 w 153"/>
                  <a:gd name="T39" fmla="*/ 0 h 82"/>
                  <a:gd name="T40" fmla="*/ 2 w 153"/>
                  <a:gd name="T41" fmla="*/ 0 h 82"/>
                  <a:gd name="T42" fmla="*/ 1 w 153"/>
                  <a:gd name="T43" fmla="*/ 0 h 82"/>
                  <a:gd name="T44" fmla="*/ 1 w 153"/>
                  <a:gd name="T45" fmla="*/ 0 h 82"/>
                  <a:gd name="T46" fmla="*/ 1 w 153"/>
                  <a:gd name="T47" fmla="*/ 0 h 82"/>
                  <a:gd name="T48" fmla="*/ 1 w 153"/>
                  <a:gd name="T49" fmla="*/ 0 h 82"/>
                  <a:gd name="T50" fmla="*/ 1 w 153"/>
                  <a:gd name="T51" fmla="*/ 0 h 82"/>
                  <a:gd name="T52" fmla="*/ 1 w 153"/>
                  <a:gd name="T53" fmla="*/ 0 h 82"/>
                  <a:gd name="T54" fmla="*/ 1 w 153"/>
                  <a:gd name="T55" fmla="*/ 0 h 82"/>
                  <a:gd name="T56" fmla="*/ 0 w 153"/>
                  <a:gd name="T57" fmla="*/ 0 h 82"/>
                  <a:gd name="T58" fmla="*/ 0 w 153"/>
                  <a:gd name="T59" fmla="*/ 0 h 82"/>
                  <a:gd name="T60" fmla="*/ 0 w 153"/>
                  <a:gd name="T61" fmla="*/ 0 h 82"/>
                  <a:gd name="T62" fmla="*/ 0 w 153"/>
                  <a:gd name="T63" fmla="*/ 0 h 82"/>
                  <a:gd name="T64" fmla="*/ 0 w 153"/>
                  <a:gd name="T65" fmla="*/ 0 h 82"/>
                  <a:gd name="T66" fmla="*/ 0 w 153"/>
                  <a:gd name="T67" fmla="*/ 0 h 82"/>
                  <a:gd name="T68" fmla="*/ 0 w 153"/>
                  <a:gd name="T69" fmla="*/ 0 h 82"/>
                  <a:gd name="T70" fmla="*/ 0 w 153"/>
                  <a:gd name="T71" fmla="*/ 0 h 82"/>
                  <a:gd name="T72" fmla="*/ 0 w 153"/>
                  <a:gd name="T73" fmla="*/ 0 h 82"/>
                  <a:gd name="T74" fmla="*/ 0 w 153"/>
                  <a:gd name="T75" fmla="*/ 0 h 82"/>
                  <a:gd name="T76" fmla="*/ 1 w 153"/>
                  <a:gd name="T77" fmla="*/ 0 h 82"/>
                  <a:gd name="T78" fmla="*/ 0 w 153"/>
                  <a:gd name="T79" fmla="*/ 1 h 82"/>
                  <a:gd name="T80" fmla="*/ 0 w 153"/>
                  <a:gd name="T81" fmla="*/ 1 h 82"/>
                  <a:gd name="T82" fmla="*/ 0 w 153"/>
                  <a:gd name="T83" fmla="*/ 1 h 82"/>
                  <a:gd name="T84" fmla="*/ 0 w 153"/>
                  <a:gd name="T85" fmla="*/ 1 h 82"/>
                  <a:gd name="T86" fmla="*/ 0 w 153"/>
                  <a:gd name="T87" fmla="*/ 1 h 82"/>
                  <a:gd name="T88" fmla="*/ 0 w 153"/>
                  <a:gd name="T89" fmla="*/ 1 h 82"/>
                  <a:gd name="T90" fmla="*/ 0 w 153"/>
                  <a:gd name="T91" fmla="*/ 1 h 82"/>
                  <a:gd name="T92" fmla="*/ 0 w 153"/>
                  <a:gd name="T93" fmla="*/ 1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0 h 50"/>
                  <a:gd name="T2" fmla="*/ 0 w 86"/>
                  <a:gd name="T3" fmla="*/ 1 h 50"/>
                  <a:gd name="T4" fmla="*/ 0 w 86"/>
                  <a:gd name="T5" fmla="*/ 1 h 50"/>
                  <a:gd name="T6" fmla="*/ 0 w 86"/>
                  <a:gd name="T7" fmla="*/ 1 h 50"/>
                  <a:gd name="T8" fmla="*/ 0 w 86"/>
                  <a:gd name="T9" fmla="*/ 1 h 50"/>
                  <a:gd name="T10" fmla="*/ 0 w 86"/>
                  <a:gd name="T11" fmla="*/ 1 h 50"/>
                  <a:gd name="T12" fmla="*/ 1 w 86"/>
                  <a:gd name="T13" fmla="*/ 1 h 50"/>
                  <a:gd name="T14" fmla="*/ 1 w 86"/>
                  <a:gd name="T15" fmla="*/ 1 h 50"/>
                  <a:gd name="T16" fmla="*/ 1 w 86"/>
                  <a:gd name="T17" fmla="*/ 1 h 50"/>
                  <a:gd name="T18" fmla="*/ 1 w 86"/>
                  <a:gd name="T19" fmla="*/ 1 h 50"/>
                  <a:gd name="T20" fmla="*/ 1 w 86"/>
                  <a:gd name="T21" fmla="*/ 1 h 50"/>
                  <a:gd name="T22" fmla="*/ 1 w 86"/>
                  <a:gd name="T23" fmla="*/ 1 h 50"/>
                  <a:gd name="T24" fmla="*/ 1 w 86"/>
                  <a:gd name="T25" fmla="*/ 0 h 50"/>
                  <a:gd name="T26" fmla="*/ 1 w 86"/>
                  <a:gd name="T27" fmla="*/ 0 h 50"/>
                  <a:gd name="T28" fmla="*/ 1 w 86"/>
                  <a:gd name="T29" fmla="*/ 0 h 50"/>
                  <a:gd name="T30" fmla="*/ 1 w 86"/>
                  <a:gd name="T31" fmla="*/ 0 h 50"/>
                  <a:gd name="T32" fmla="*/ 1 w 86"/>
                  <a:gd name="T33" fmla="*/ 0 h 50"/>
                  <a:gd name="T34" fmla="*/ 1 w 86"/>
                  <a:gd name="T35" fmla="*/ 0 h 50"/>
                  <a:gd name="T36" fmla="*/ 1 w 86"/>
                  <a:gd name="T37" fmla="*/ 0 h 50"/>
                  <a:gd name="T38" fmla="*/ 1 w 86"/>
                  <a:gd name="T39" fmla="*/ 0 h 50"/>
                  <a:gd name="T40" fmla="*/ 1 w 86"/>
                  <a:gd name="T41" fmla="*/ 0 h 50"/>
                  <a:gd name="T42" fmla="*/ 0 w 86"/>
                  <a:gd name="T43" fmla="*/ 0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 w 172"/>
                  <a:gd name="T1" fmla="*/ 1 h 74"/>
                  <a:gd name="T2" fmla="*/ 1 w 172"/>
                  <a:gd name="T3" fmla="*/ 1 h 74"/>
                  <a:gd name="T4" fmla="*/ 1 w 172"/>
                  <a:gd name="T5" fmla="*/ 1 h 74"/>
                  <a:gd name="T6" fmla="*/ 1 w 172"/>
                  <a:gd name="T7" fmla="*/ 1 h 74"/>
                  <a:gd name="T8" fmla="*/ 1 w 172"/>
                  <a:gd name="T9" fmla="*/ 1 h 74"/>
                  <a:gd name="T10" fmla="*/ 1 w 172"/>
                  <a:gd name="T11" fmla="*/ 1 h 74"/>
                  <a:gd name="T12" fmla="*/ 0 w 172"/>
                  <a:gd name="T13" fmla="*/ 1 h 74"/>
                  <a:gd name="T14" fmla="*/ 0 w 172"/>
                  <a:gd name="T15" fmla="*/ 1 h 74"/>
                  <a:gd name="T16" fmla="*/ 0 w 172"/>
                  <a:gd name="T17" fmla="*/ 1 h 74"/>
                  <a:gd name="T18" fmla="*/ 0 w 172"/>
                  <a:gd name="T19" fmla="*/ 1 h 74"/>
                  <a:gd name="T20" fmla="*/ 0 w 172"/>
                  <a:gd name="T21" fmla="*/ 1 h 74"/>
                  <a:gd name="T22" fmla="*/ 0 w 172"/>
                  <a:gd name="T23" fmla="*/ 1 h 74"/>
                  <a:gd name="T24" fmla="*/ 0 w 172"/>
                  <a:gd name="T25" fmla="*/ 1 h 74"/>
                  <a:gd name="T26" fmla="*/ 0 w 172"/>
                  <a:gd name="T27" fmla="*/ 1 h 74"/>
                  <a:gd name="T28" fmla="*/ 0 w 172"/>
                  <a:gd name="T29" fmla="*/ 0 h 74"/>
                  <a:gd name="T30" fmla="*/ 0 w 172"/>
                  <a:gd name="T31" fmla="*/ 0 h 74"/>
                  <a:gd name="T32" fmla="*/ 0 w 172"/>
                  <a:gd name="T33" fmla="*/ 0 h 74"/>
                  <a:gd name="T34" fmla="*/ 0 w 172"/>
                  <a:gd name="T35" fmla="*/ 0 h 74"/>
                  <a:gd name="T36" fmla="*/ 0 w 172"/>
                  <a:gd name="T37" fmla="*/ 0 h 74"/>
                  <a:gd name="T38" fmla="*/ 0 w 172"/>
                  <a:gd name="T39" fmla="*/ 0 h 74"/>
                  <a:gd name="T40" fmla="*/ 0 w 172"/>
                  <a:gd name="T41" fmla="*/ 0 h 74"/>
                  <a:gd name="T42" fmla="*/ 0 w 172"/>
                  <a:gd name="T43" fmla="*/ 0 h 74"/>
                  <a:gd name="T44" fmla="*/ 0 w 172"/>
                  <a:gd name="T45" fmla="*/ 0 h 74"/>
                  <a:gd name="T46" fmla="*/ 0 w 172"/>
                  <a:gd name="T47" fmla="*/ 0 h 74"/>
                  <a:gd name="T48" fmla="*/ 0 w 172"/>
                  <a:gd name="T49" fmla="*/ 0 h 74"/>
                  <a:gd name="T50" fmla="*/ 0 w 172"/>
                  <a:gd name="T51" fmla="*/ 0 h 74"/>
                  <a:gd name="T52" fmla="*/ 1 w 172"/>
                  <a:gd name="T53" fmla="*/ 0 h 74"/>
                  <a:gd name="T54" fmla="*/ 1 w 172"/>
                  <a:gd name="T55" fmla="*/ 0 h 74"/>
                  <a:gd name="T56" fmla="*/ 1 w 172"/>
                  <a:gd name="T57" fmla="*/ 0 h 74"/>
                  <a:gd name="T58" fmla="*/ 1 w 172"/>
                  <a:gd name="T59" fmla="*/ 0 h 74"/>
                  <a:gd name="T60" fmla="*/ 1 w 172"/>
                  <a:gd name="T61" fmla="*/ 0 h 74"/>
                  <a:gd name="T62" fmla="*/ 1 w 172"/>
                  <a:gd name="T63" fmla="*/ 0 h 74"/>
                  <a:gd name="T64" fmla="*/ 1 w 172"/>
                  <a:gd name="T65" fmla="*/ 0 h 74"/>
                  <a:gd name="T66" fmla="*/ 1 w 172"/>
                  <a:gd name="T67" fmla="*/ 0 h 74"/>
                  <a:gd name="T68" fmla="*/ 2 w 172"/>
                  <a:gd name="T69" fmla="*/ 0 h 74"/>
                  <a:gd name="T70" fmla="*/ 2 w 172"/>
                  <a:gd name="T71" fmla="*/ 0 h 74"/>
                  <a:gd name="T72" fmla="*/ 2 w 172"/>
                  <a:gd name="T73" fmla="*/ 0 h 74"/>
                  <a:gd name="T74" fmla="*/ 2 w 172"/>
                  <a:gd name="T75" fmla="*/ 1 h 74"/>
                  <a:gd name="T76" fmla="*/ 2 w 172"/>
                  <a:gd name="T77" fmla="*/ 1 h 74"/>
                  <a:gd name="T78" fmla="*/ 2 w 172"/>
                  <a:gd name="T79" fmla="*/ 1 h 74"/>
                  <a:gd name="T80" fmla="*/ 2 w 172"/>
                  <a:gd name="T81" fmla="*/ 1 h 74"/>
                  <a:gd name="T82" fmla="*/ 2 w 172"/>
                  <a:gd name="T83" fmla="*/ 1 h 74"/>
                  <a:gd name="T84" fmla="*/ 2 w 172"/>
                  <a:gd name="T85" fmla="*/ 1 h 74"/>
                  <a:gd name="T86" fmla="*/ 2 w 172"/>
                  <a:gd name="T87" fmla="*/ 1 h 74"/>
                  <a:gd name="T88" fmla="*/ 2 w 172"/>
                  <a:gd name="T89" fmla="*/ 1 h 74"/>
                  <a:gd name="T90" fmla="*/ 1 w 172"/>
                  <a:gd name="T91" fmla="*/ 1 h 74"/>
                  <a:gd name="T92" fmla="*/ 1 w 172"/>
                  <a:gd name="T93" fmla="*/ 1 h 74"/>
                  <a:gd name="T94" fmla="*/ 1 w 172"/>
                  <a:gd name="T95" fmla="*/ 1 h 74"/>
                  <a:gd name="T96" fmla="*/ 1 w 172"/>
                  <a:gd name="T97" fmla="*/ 1 h 74"/>
                  <a:gd name="T98" fmla="*/ 1 w 172"/>
                  <a:gd name="T99" fmla="*/ 1 h 74"/>
                  <a:gd name="T100" fmla="*/ 1 w 172"/>
                  <a:gd name="T101" fmla="*/ 1 h 74"/>
                  <a:gd name="T102" fmla="*/ 1 w 172"/>
                  <a:gd name="T103" fmla="*/ 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0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0 w 120"/>
                  <a:gd name="T1" fmla="*/ 1 h 49"/>
                  <a:gd name="T2" fmla="*/ 1 w 120"/>
                  <a:gd name="T3" fmla="*/ 1 h 49"/>
                  <a:gd name="T4" fmla="*/ 1 w 120"/>
                  <a:gd name="T5" fmla="*/ 1 h 49"/>
                  <a:gd name="T6" fmla="*/ 1 w 120"/>
                  <a:gd name="T7" fmla="*/ 1 h 49"/>
                  <a:gd name="T8" fmla="*/ 1 w 120"/>
                  <a:gd name="T9" fmla="*/ 1 h 49"/>
                  <a:gd name="T10" fmla="*/ 1 w 120"/>
                  <a:gd name="T11" fmla="*/ 1 h 49"/>
                  <a:gd name="T12" fmla="*/ 1 w 120"/>
                  <a:gd name="T13" fmla="*/ 1 h 49"/>
                  <a:gd name="T14" fmla="*/ 1 w 120"/>
                  <a:gd name="T15" fmla="*/ 0 h 49"/>
                  <a:gd name="T16" fmla="*/ 1 w 120"/>
                  <a:gd name="T17" fmla="*/ 0 h 49"/>
                  <a:gd name="T18" fmla="*/ 1 w 120"/>
                  <a:gd name="T19" fmla="*/ 0 h 49"/>
                  <a:gd name="T20" fmla="*/ 1 w 120"/>
                  <a:gd name="T21" fmla="*/ 0 h 49"/>
                  <a:gd name="T22" fmla="*/ 1 w 120"/>
                  <a:gd name="T23" fmla="*/ 0 h 49"/>
                  <a:gd name="T24" fmla="*/ 1 w 120"/>
                  <a:gd name="T25" fmla="*/ 0 h 49"/>
                  <a:gd name="T26" fmla="*/ 1 w 120"/>
                  <a:gd name="T27" fmla="*/ 0 h 49"/>
                  <a:gd name="T28" fmla="*/ 1 w 120"/>
                  <a:gd name="T29" fmla="*/ 0 h 49"/>
                  <a:gd name="T30" fmla="*/ 0 w 120"/>
                  <a:gd name="T31" fmla="*/ 0 h 49"/>
                  <a:gd name="T32" fmla="*/ 0 w 120"/>
                  <a:gd name="T33" fmla="*/ 0 h 49"/>
                  <a:gd name="T34" fmla="*/ 0 w 120"/>
                  <a:gd name="T35" fmla="*/ 0 h 49"/>
                  <a:gd name="T36" fmla="*/ 0 w 120"/>
                  <a:gd name="T37" fmla="*/ 0 h 49"/>
                  <a:gd name="T38" fmla="*/ 0 w 120"/>
                  <a:gd name="T39" fmla="*/ 0 h 49"/>
                  <a:gd name="T40" fmla="*/ 0 w 120"/>
                  <a:gd name="T41" fmla="*/ 0 h 49"/>
                  <a:gd name="T42" fmla="*/ 0 w 120"/>
                  <a:gd name="T43" fmla="*/ 1 h 49"/>
                  <a:gd name="T44" fmla="*/ 0 w 120"/>
                  <a:gd name="T45" fmla="*/ 1 h 49"/>
                  <a:gd name="T46" fmla="*/ 0 w 120"/>
                  <a:gd name="T47" fmla="*/ 1 h 49"/>
                  <a:gd name="T48" fmla="*/ 0 w 120"/>
                  <a:gd name="T49" fmla="*/ 1 h 49"/>
                  <a:gd name="T50" fmla="*/ 0 w 120"/>
                  <a:gd name="T51" fmla="*/ 1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0 w 85"/>
                  <a:gd name="T1" fmla="*/ 0 h 61"/>
                  <a:gd name="T2" fmla="*/ 0 w 85"/>
                  <a:gd name="T3" fmla="*/ 0 h 61"/>
                  <a:gd name="T4" fmla="*/ 0 w 85"/>
                  <a:gd name="T5" fmla="*/ 0 h 61"/>
                  <a:gd name="T6" fmla="*/ 0 w 85"/>
                  <a:gd name="T7" fmla="*/ 0 h 61"/>
                  <a:gd name="T8" fmla="*/ 0 w 85"/>
                  <a:gd name="T9" fmla="*/ 0 h 61"/>
                  <a:gd name="T10" fmla="*/ 0 w 85"/>
                  <a:gd name="T11" fmla="*/ 0 h 61"/>
                  <a:gd name="T12" fmla="*/ 0 w 85"/>
                  <a:gd name="T13" fmla="*/ 0 h 61"/>
                  <a:gd name="T14" fmla="*/ 0 w 85"/>
                  <a:gd name="T15" fmla="*/ 0 h 61"/>
                  <a:gd name="T16" fmla="*/ 0 w 85"/>
                  <a:gd name="T17" fmla="*/ 0 h 61"/>
                  <a:gd name="T18" fmla="*/ 0 w 85"/>
                  <a:gd name="T19" fmla="*/ 0 h 61"/>
                  <a:gd name="T20" fmla="*/ 0 w 85"/>
                  <a:gd name="T21" fmla="*/ 0 h 61"/>
                  <a:gd name="T22" fmla="*/ 0 w 85"/>
                  <a:gd name="T23" fmla="*/ 1 h 61"/>
                  <a:gd name="T24" fmla="*/ 0 w 85"/>
                  <a:gd name="T25" fmla="*/ 1 h 61"/>
                  <a:gd name="T26" fmla="*/ 0 w 85"/>
                  <a:gd name="T27" fmla="*/ 1 h 61"/>
                  <a:gd name="T28" fmla="*/ 0 w 85"/>
                  <a:gd name="T29" fmla="*/ 1 h 61"/>
                  <a:gd name="T30" fmla="*/ 0 w 85"/>
                  <a:gd name="T31" fmla="*/ 1 h 61"/>
                  <a:gd name="T32" fmla="*/ 1 w 85"/>
                  <a:gd name="T33" fmla="*/ 1 h 61"/>
                  <a:gd name="T34" fmla="*/ 1 w 85"/>
                  <a:gd name="T35" fmla="*/ 1 h 61"/>
                  <a:gd name="T36" fmla="*/ 1 w 85"/>
                  <a:gd name="T37" fmla="*/ 1 h 61"/>
                  <a:gd name="T38" fmla="*/ 1 w 85"/>
                  <a:gd name="T39" fmla="*/ 1 h 61"/>
                  <a:gd name="T40" fmla="*/ 1 w 85"/>
                  <a:gd name="T41" fmla="*/ 1 h 61"/>
                  <a:gd name="T42" fmla="*/ 1 w 85"/>
                  <a:gd name="T43" fmla="*/ 1 h 61"/>
                  <a:gd name="T44" fmla="*/ 1 w 85"/>
                  <a:gd name="T45" fmla="*/ 1 h 61"/>
                  <a:gd name="T46" fmla="*/ 1 w 85"/>
                  <a:gd name="T47" fmla="*/ 0 h 61"/>
                  <a:gd name="T48" fmla="*/ 1 w 85"/>
                  <a:gd name="T49" fmla="*/ 0 h 61"/>
                  <a:gd name="T50" fmla="*/ 1 w 85"/>
                  <a:gd name="T51" fmla="*/ 0 h 61"/>
                  <a:gd name="T52" fmla="*/ 1 w 85"/>
                  <a:gd name="T53" fmla="*/ 0 h 61"/>
                  <a:gd name="T54" fmla="*/ 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0 h 19"/>
                  <a:gd name="T2" fmla="*/ 0 w 100"/>
                  <a:gd name="T3" fmla="*/ 0 h 19"/>
                  <a:gd name="T4" fmla="*/ 0 w 100"/>
                  <a:gd name="T5" fmla="*/ 0 h 19"/>
                  <a:gd name="T6" fmla="*/ 0 w 100"/>
                  <a:gd name="T7" fmla="*/ 0 h 19"/>
                  <a:gd name="T8" fmla="*/ 0 w 100"/>
                  <a:gd name="T9" fmla="*/ 0 h 19"/>
                  <a:gd name="T10" fmla="*/ 1 w 100"/>
                  <a:gd name="T11" fmla="*/ 0 h 19"/>
                  <a:gd name="T12" fmla="*/ 1 w 100"/>
                  <a:gd name="T13" fmla="*/ 0 h 19"/>
                  <a:gd name="T14" fmla="*/ 1 w 100"/>
                  <a:gd name="T15" fmla="*/ 0 h 19"/>
                  <a:gd name="T16" fmla="*/ 0 w 100"/>
                  <a:gd name="T17" fmla="*/ 0 h 19"/>
                  <a:gd name="T18" fmla="*/ 0 w 100"/>
                  <a:gd name="T19" fmla="*/ 0 h 19"/>
                  <a:gd name="T20" fmla="*/ 0 w 100"/>
                  <a:gd name="T21" fmla="*/ 0 h 19"/>
                  <a:gd name="T22" fmla="*/ 0 w 100"/>
                  <a:gd name="T23" fmla="*/ 0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0 h 45"/>
                  <a:gd name="T2" fmla="*/ 0 w 166"/>
                  <a:gd name="T3" fmla="*/ 0 h 45"/>
                  <a:gd name="T4" fmla="*/ 0 w 166"/>
                  <a:gd name="T5" fmla="*/ 0 h 45"/>
                  <a:gd name="T6" fmla="*/ 0 w 166"/>
                  <a:gd name="T7" fmla="*/ 0 h 45"/>
                  <a:gd name="T8" fmla="*/ 0 w 166"/>
                  <a:gd name="T9" fmla="*/ 0 h 45"/>
                  <a:gd name="T10" fmla="*/ 0 w 166"/>
                  <a:gd name="T11" fmla="*/ 0 h 45"/>
                  <a:gd name="T12" fmla="*/ 0 w 166"/>
                  <a:gd name="T13" fmla="*/ 1 h 45"/>
                  <a:gd name="T14" fmla="*/ 1 w 166"/>
                  <a:gd name="T15" fmla="*/ 1 h 45"/>
                  <a:gd name="T16" fmla="*/ 1 w 166"/>
                  <a:gd name="T17" fmla="*/ 1 h 45"/>
                  <a:gd name="T18" fmla="*/ 2 w 166"/>
                  <a:gd name="T19" fmla="*/ 0 h 45"/>
                  <a:gd name="T20" fmla="*/ 2 w 166"/>
                  <a:gd name="T21" fmla="*/ 0 h 45"/>
                  <a:gd name="T22" fmla="*/ 1 w 166"/>
                  <a:gd name="T23" fmla="*/ 0 h 45"/>
                  <a:gd name="T24" fmla="*/ 1 w 166"/>
                  <a:gd name="T25" fmla="*/ 0 h 45"/>
                  <a:gd name="T26" fmla="*/ 1 w 166"/>
                  <a:gd name="T27" fmla="*/ 0 h 45"/>
                  <a:gd name="T28" fmla="*/ 1 w 166"/>
                  <a:gd name="T29" fmla="*/ 0 h 45"/>
                  <a:gd name="T30" fmla="*/ 1 w 166"/>
                  <a:gd name="T31" fmla="*/ 0 h 45"/>
                  <a:gd name="T32" fmla="*/ 0 w 166"/>
                  <a:gd name="T33" fmla="*/ 0 h 45"/>
                  <a:gd name="T34" fmla="*/ 0 w 166"/>
                  <a:gd name="T35" fmla="*/ 0 h 45"/>
                  <a:gd name="T36" fmla="*/ 0 w 166"/>
                  <a:gd name="T37" fmla="*/ 0 h 45"/>
                  <a:gd name="T38" fmla="*/ 0 w 166"/>
                  <a:gd name="T39" fmla="*/ 0 h 45"/>
                  <a:gd name="T40" fmla="*/ 0 w 166"/>
                  <a:gd name="T41" fmla="*/ 0 h 45"/>
                  <a:gd name="T42" fmla="*/ 0 w 166"/>
                  <a:gd name="T43" fmla="*/ 0 h 45"/>
                  <a:gd name="T44" fmla="*/ 0 w 166"/>
                  <a:gd name="T45" fmla="*/ 0 h 45"/>
                  <a:gd name="T46" fmla="*/ 0 w 166"/>
                  <a:gd name="T47" fmla="*/ 0 h 45"/>
                  <a:gd name="T48" fmla="*/ 0 w 166"/>
                  <a:gd name="T49" fmla="*/ 0 h 45"/>
                  <a:gd name="T50" fmla="*/ 0 w 166"/>
                  <a:gd name="T51" fmla="*/ 0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0 h 25"/>
                  <a:gd name="T4" fmla="*/ 0 w 33"/>
                  <a:gd name="T5" fmla="*/ 0 h 25"/>
                  <a:gd name="T6" fmla="*/ 0 w 33"/>
                  <a:gd name="T7" fmla="*/ 0 h 25"/>
                  <a:gd name="T8" fmla="*/ 0 w 33"/>
                  <a:gd name="T9" fmla="*/ 0 h 25"/>
                  <a:gd name="T10" fmla="*/ 0 w 33"/>
                  <a:gd name="T11" fmla="*/ 0 h 25"/>
                  <a:gd name="T12" fmla="*/ 0 w 33"/>
                  <a:gd name="T13" fmla="*/ 0 h 25"/>
                  <a:gd name="T14" fmla="*/ 0 w 33"/>
                  <a:gd name="T15" fmla="*/ 0 h 25"/>
                  <a:gd name="T16" fmla="*/ 0 w 33"/>
                  <a:gd name="T17" fmla="*/ 0 h 25"/>
                  <a:gd name="T18" fmla="*/ 0 w 33"/>
                  <a:gd name="T19" fmla="*/ 0 h 25"/>
                  <a:gd name="T20" fmla="*/ 0 w 33"/>
                  <a:gd name="T21" fmla="*/ 0 h 25"/>
                  <a:gd name="T22" fmla="*/ 0 w 33"/>
                  <a:gd name="T23" fmla="*/ 0 h 25"/>
                  <a:gd name="T24" fmla="*/ 0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1 h 62"/>
                  <a:gd name="T2" fmla="*/ 0 w 48"/>
                  <a:gd name="T3" fmla="*/ 1 h 62"/>
                  <a:gd name="T4" fmla="*/ 0 w 48"/>
                  <a:gd name="T5" fmla="*/ 1 h 62"/>
                  <a:gd name="T6" fmla="*/ 0 w 48"/>
                  <a:gd name="T7" fmla="*/ 1 h 62"/>
                  <a:gd name="T8" fmla="*/ 0 w 48"/>
                  <a:gd name="T9" fmla="*/ 0 h 62"/>
                  <a:gd name="T10" fmla="*/ 1 w 48"/>
                  <a:gd name="T11" fmla="*/ 0 h 62"/>
                  <a:gd name="T12" fmla="*/ 1 w 48"/>
                  <a:gd name="T13" fmla="*/ 0 h 62"/>
                  <a:gd name="T14" fmla="*/ 1 w 48"/>
                  <a:gd name="T15" fmla="*/ 0 h 62"/>
                  <a:gd name="T16" fmla="*/ 1 w 48"/>
                  <a:gd name="T17" fmla="*/ 0 h 62"/>
                  <a:gd name="T18" fmla="*/ 0 w 48"/>
                  <a:gd name="T19" fmla="*/ 0 h 62"/>
                  <a:gd name="T20" fmla="*/ 0 w 48"/>
                  <a:gd name="T21" fmla="*/ 0 h 62"/>
                  <a:gd name="T22" fmla="*/ 0 w 48"/>
                  <a:gd name="T23" fmla="*/ 0 h 62"/>
                  <a:gd name="T24" fmla="*/ 0 w 48"/>
                  <a:gd name="T25" fmla="*/ 0 h 62"/>
                  <a:gd name="T26" fmla="*/ 0 w 48"/>
                  <a:gd name="T27" fmla="*/ 0 h 62"/>
                  <a:gd name="T28" fmla="*/ 0 w 48"/>
                  <a:gd name="T29" fmla="*/ 0 h 62"/>
                  <a:gd name="T30" fmla="*/ 0 w 48"/>
                  <a:gd name="T31" fmla="*/ 0 h 62"/>
                  <a:gd name="T32" fmla="*/ 0 w 48"/>
                  <a:gd name="T33" fmla="*/ 0 h 62"/>
                  <a:gd name="T34" fmla="*/ 0 w 48"/>
                  <a:gd name="T35" fmla="*/ 0 h 62"/>
                  <a:gd name="T36" fmla="*/ 0 w 48"/>
                  <a:gd name="T37" fmla="*/ 1 h 62"/>
                  <a:gd name="T38" fmla="*/ 0 w 48"/>
                  <a:gd name="T39" fmla="*/ 1 h 62"/>
                  <a:gd name="T40" fmla="*/ 0 w 48"/>
                  <a:gd name="T41" fmla="*/ 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 w 113"/>
                  <a:gd name="T1" fmla="*/ 0 h 62"/>
                  <a:gd name="T2" fmla="*/ 0 w 113"/>
                  <a:gd name="T3" fmla="*/ 0 h 62"/>
                  <a:gd name="T4" fmla="*/ 0 w 113"/>
                  <a:gd name="T5" fmla="*/ 0 h 62"/>
                  <a:gd name="T6" fmla="*/ 0 w 113"/>
                  <a:gd name="T7" fmla="*/ 0 h 62"/>
                  <a:gd name="T8" fmla="*/ 0 w 113"/>
                  <a:gd name="T9" fmla="*/ 0 h 62"/>
                  <a:gd name="T10" fmla="*/ 0 w 113"/>
                  <a:gd name="T11" fmla="*/ 1 h 62"/>
                  <a:gd name="T12" fmla="*/ 0 w 113"/>
                  <a:gd name="T13" fmla="*/ 1 h 62"/>
                  <a:gd name="T14" fmla="*/ 1 w 113"/>
                  <a:gd name="T15" fmla="*/ 1 h 62"/>
                  <a:gd name="T16" fmla="*/ 1 w 113"/>
                  <a:gd name="T17" fmla="*/ 1 h 62"/>
                  <a:gd name="T18" fmla="*/ 1 w 113"/>
                  <a:gd name="T19" fmla="*/ 1 h 62"/>
                  <a:gd name="T20" fmla="*/ 1 w 113"/>
                  <a:gd name="T21" fmla="*/ 1 h 62"/>
                  <a:gd name="T22" fmla="*/ 1 w 113"/>
                  <a:gd name="T23" fmla="*/ 1 h 62"/>
                  <a:gd name="T24" fmla="*/ 1 w 113"/>
                  <a:gd name="T25" fmla="*/ 1 h 62"/>
                  <a:gd name="T26" fmla="*/ 1 w 113"/>
                  <a:gd name="T27" fmla="*/ 1 h 62"/>
                  <a:gd name="T28" fmla="*/ 1 w 113"/>
                  <a:gd name="T29" fmla="*/ 1 h 62"/>
                  <a:gd name="T30" fmla="*/ 1 w 113"/>
                  <a:gd name="T31" fmla="*/ 1 h 62"/>
                  <a:gd name="T32" fmla="*/ 1 w 113"/>
                  <a:gd name="T33" fmla="*/ 1 h 62"/>
                  <a:gd name="T34" fmla="*/ 1 w 113"/>
                  <a:gd name="T35" fmla="*/ 0 h 62"/>
                  <a:gd name="T36" fmla="*/ 1 w 113"/>
                  <a:gd name="T37" fmla="*/ 0 h 62"/>
                  <a:gd name="T38" fmla="*/ 1 w 113"/>
                  <a:gd name="T39" fmla="*/ 0 h 62"/>
                  <a:gd name="T40" fmla="*/ 1 w 113"/>
                  <a:gd name="T41" fmla="*/ 0 h 62"/>
                  <a:gd name="T42" fmla="*/ 1 w 113"/>
                  <a:gd name="T43" fmla="*/ 0 h 62"/>
                  <a:gd name="T44" fmla="*/ 1 w 113"/>
                  <a:gd name="T45" fmla="*/ 0 h 62"/>
                  <a:gd name="T46" fmla="*/ 1 w 113"/>
                  <a:gd name="T47" fmla="*/ 0 h 62"/>
                  <a:gd name="T48" fmla="*/ 1 w 113"/>
                  <a:gd name="T49" fmla="*/ 0 h 62"/>
                  <a:gd name="T50" fmla="*/ 1 w 113"/>
                  <a:gd name="T51" fmla="*/ 0 h 62"/>
                  <a:gd name="T52" fmla="*/ 1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0 w 93"/>
                  <a:gd name="T3" fmla="*/ 0 h 50"/>
                  <a:gd name="T4" fmla="*/ 0 w 93"/>
                  <a:gd name="T5" fmla="*/ 0 h 50"/>
                  <a:gd name="T6" fmla="*/ 0 w 93"/>
                  <a:gd name="T7" fmla="*/ 0 h 50"/>
                  <a:gd name="T8" fmla="*/ 1 w 93"/>
                  <a:gd name="T9" fmla="*/ 0 h 50"/>
                  <a:gd name="T10" fmla="*/ 1 w 93"/>
                  <a:gd name="T11" fmla="*/ 0 h 50"/>
                  <a:gd name="T12" fmla="*/ 1 w 93"/>
                  <a:gd name="T13" fmla="*/ 0 h 50"/>
                  <a:gd name="T14" fmla="*/ 1 w 93"/>
                  <a:gd name="T15" fmla="*/ 0 h 50"/>
                  <a:gd name="T16" fmla="*/ 1 w 93"/>
                  <a:gd name="T17" fmla="*/ 0 h 50"/>
                  <a:gd name="T18" fmla="*/ 1 w 93"/>
                  <a:gd name="T19" fmla="*/ 0 h 50"/>
                  <a:gd name="T20" fmla="*/ 1 w 93"/>
                  <a:gd name="T21" fmla="*/ 0 h 50"/>
                  <a:gd name="T22" fmla="*/ 1 w 93"/>
                  <a:gd name="T23" fmla="*/ 0 h 50"/>
                  <a:gd name="T24" fmla="*/ 1 w 93"/>
                  <a:gd name="T25" fmla="*/ 0 h 50"/>
                  <a:gd name="T26" fmla="*/ 1 w 93"/>
                  <a:gd name="T27" fmla="*/ 0 h 50"/>
                  <a:gd name="T28" fmla="*/ 1 w 93"/>
                  <a:gd name="T29" fmla="*/ 0 h 50"/>
                  <a:gd name="T30" fmla="*/ 1 w 93"/>
                  <a:gd name="T31" fmla="*/ 0 h 50"/>
                  <a:gd name="T32" fmla="*/ 1 w 93"/>
                  <a:gd name="T33" fmla="*/ 0 h 50"/>
                  <a:gd name="T34" fmla="*/ 0 w 93"/>
                  <a:gd name="T35" fmla="*/ 0 h 50"/>
                  <a:gd name="T36" fmla="*/ 0 w 93"/>
                  <a:gd name="T37" fmla="*/ 1 h 50"/>
                  <a:gd name="T38" fmla="*/ 0 w 93"/>
                  <a:gd name="T39" fmla="*/ 1 h 50"/>
                  <a:gd name="T40" fmla="*/ 0 w 93"/>
                  <a:gd name="T41" fmla="*/ 0 h 50"/>
                  <a:gd name="T42" fmla="*/ 0 w 93"/>
                  <a:gd name="T43" fmla="*/ 0 h 50"/>
                  <a:gd name="T44" fmla="*/ 0 w 93"/>
                  <a:gd name="T45" fmla="*/ 0 h 50"/>
                  <a:gd name="T46" fmla="*/ 0 w 93"/>
                  <a:gd name="T47" fmla="*/ 0 h 50"/>
                  <a:gd name="T48" fmla="*/ 0 w 93"/>
                  <a:gd name="T49" fmla="*/ 0 h 50"/>
                  <a:gd name="T50" fmla="*/ 0 w 93"/>
                  <a:gd name="T51" fmla="*/ 0 h 50"/>
                  <a:gd name="T52" fmla="*/ 0 w 93"/>
                  <a:gd name="T53" fmla="*/ 0 h 50"/>
                  <a:gd name="T54" fmla="*/ 0 w 93"/>
                  <a:gd name="T55" fmla="*/ 0 h 50"/>
                  <a:gd name="T56" fmla="*/ 0 w 93"/>
                  <a:gd name="T57" fmla="*/ 0 h 50"/>
                  <a:gd name="T58" fmla="*/ 0 w 93"/>
                  <a:gd name="T59" fmla="*/ 0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0 w 1029"/>
                  <a:gd name="T1" fmla="*/ 1 h 604"/>
                  <a:gd name="T2" fmla="*/ 1 w 1029"/>
                  <a:gd name="T3" fmla="*/ 1 h 604"/>
                  <a:gd name="T4" fmla="*/ 3 w 1029"/>
                  <a:gd name="T5" fmla="*/ 0 h 604"/>
                  <a:gd name="T6" fmla="*/ 2 w 1029"/>
                  <a:gd name="T7" fmla="*/ 1 h 604"/>
                  <a:gd name="T8" fmla="*/ 2 w 1029"/>
                  <a:gd name="T9" fmla="*/ 1 h 604"/>
                  <a:gd name="T10" fmla="*/ 3 w 1029"/>
                  <a:gd name="T11" fmla="*/ 1 h 604"/>
                  <a:gd name="T12" fmla="*/ 4 w 1029"/>
                  <a:gd name="T13" fmla="*/ 0 h 604"/>
                  <a:gd name="T14" fmla="*/ 5 w 1029"/>
                  <a:gd name="T15" fmla="*/ 0 h 604"/>
                  <a:gd name="T16" fmla="*/ 5 w 1029"/>
                  <a:gd name="T17" fmla="*/ 1 h 604"/>
                  <a:gd name="T18" fmla="*/ 6 w 1029"/>
                  <a:gd name="T19" fmla="*/ 1 h 604"/>
                  <a:gd name="T20" fmla="*/ 7 w 1029"/>
                  <a:gd name="T21" fmla="*/ 1 h 604"/>
                  <a:gd name="T22" fmla="*/ 8 w 1029"/>
                  <a:gd name="T23" fmla="*/ 1 h 604"/>
                  <a:gd name="T24" fmla="*/ 8 w 1029"/>
                  <a:gd name="T25" fmla="*/ 2 h 604"/>
                  <a:gd name="T26" fmla="*/ 8 w 1029"/>
                  <a:gd name="T27" fmla="*/ 2 h 604"/>
                  <a:gd name="T28" fmla="*/ 9 w 1029"/>
                  <a:gd name="T29" fmla="*/ 2 h 604"/>
                  <a:gd name="T30" fmla="*/ 9 w 1029"/>
                  <a:gd name="T31" fmla="*/ 2 h 604"/>
                  <a:gd name="T32" fmla="*/ 9 w 1029"/>
                  <a:gd name="T33" fmla="*/ 3 h 604"/>
                  <a:gd name="T34" fmla="*/ 8 w 1029"/>
                  <a:gd name="T35" fmla="*/ 3 h 604"/>
                  <a:gd name="T36" fmla="*/ 9 w 1029"/>
                  <a:gd name="T37" fmla="*/ 3 h 604"/>
                  <a:gd name="T38" fmla="*/ 10 w 1029"/>
                  <a:gd name="T39" fmla="*/ 4 h 604"/>
                  <a:gd name="T40" fmla="*/ 10 w 1029"/>
                  <a:gd name="T41" fmla="*/ 4 h 604"/>
                  <a:gd name="T42" fmla="*/ 11 w 1029"/>
                  <a:gd name="T43" fmla="*/ 4 h 604"/>
                  <a:gd name="T44" fmla="*/ 10 w 1029"/>
                  <a:gd name="T45" fmla="*/ 5 h 604"/>
                  <a:gd name="T46" fmla="*/ 10 w 1029"/>
                  <a:gd name="T47" fmla="*/ 5 h 604"/>
                  <a:gd name="T48" fmla="*/ 9 w 1029"/>
                  <a:gd name="T49" fmla="*/ 5 h 604"/>
                  <a:gd name="T50" fmla="*/ 9 w 1029"/>
                  <a:gd name="T51" fmla="*/ 5 h 604"/>
                  <a:gd name="T52" fmla="*/ 9 w 1029"/>
                  <a:gd name="T53" fmla="*/ 5 h 604"/>
                  <a:gd name="T54" fmla="*/ 8 w 1029"/>
                  <a:gd name="T55" fmla="*/ 4 h 604"/>
                  <a:gd name="T56" fmla="*/ 8 w 1029"/>
                  <a:gd name="T57" fmla="*/ 4 h 604"/>
                  <a:gd name="T58" fmla="*/ 8 w 1029"/>
                  <a:gd name="T59" fmla="*/ 5 h 604"/>
                  <a:gd name="T60" fmla="*/ 8 w 1029"/>
                  <a:gd name="T61" fmla="*/ 5 h 604"/>
                  <a:gd name="T62" fmla="*/ 8 w 1029"/>
                  <a:gd name="T63" fmla="*/ 6 h 604"/>
                  <a:gd name="T64" fmla="*/ 8 w 1029"/>
                  <a:gd name="T65" fmla="*/ 6 h 604"/>
                  <a:gd name="T66" fmla="*/ 7 w 1029"/>
                  <a:gd name="T67" fmla="*/ 7 h 604"/>
                  <a:gd name="T68" fmla="*/ 7 w 1029"/>
                  <a:gd name="T69" fmla="*/ 6 h 604"/>
                  <a:gd name="T70" fmla="*/ 7 w 1029"/>
                  <a:gd name="T71" fmla="*/ 7 h 604"/>
                  <a:gd name="T72" fmla="*/ 7 w 1029"/>
                  <a:gd name="T73" fmla="*/ 7 h 604"/>
                  <a:gd name="T74" fmla="*/ 5 w 1029"/>
                  <a:gd name="T75" fmla="*/ 7 h 604"/>
                  <a:gd name="T76" fmla="*/ 5 w 1029"/>
                  <a:gd name="T77" fmla="*/ 6 h 604"/>
                  <a:gd name="T78" fmla="*/ 5 w 1029"/>
                  <a:gd name="T79" fmla="*/ 6 h 604"/>
                  <a:gd name="T80" fmla="*/ 4 w 1029"/>
                  <a:gd name="T81" fmla="*/ 5 h 604"/>
                  <a:gd name="T82" fmla="*/ 4 w 1029"/>
                  <a:gd name="T83" fmla="*/ 5 h 604"/>
                  <a:gd name="T84" fmla="*/ 5 w 1029"/>
                  <a:gd name="T85" fmla="*/ 5 h 604"/>
                  <a:gd name="T86" fmla="*/ 5 w 1029"/>
                  <a:gd name="T87" fmla="*/ 4 h 604"/>
                  <a:gd name="T88" fmla="*/ 6 w 1029"/>
                  <a:gd name="T89" fmla="*/ 4 h 604"/>
                  <a:gd name="T90" fmla="*/ 7 w 1029"/>
                  <a:gd name="T91" fmla="*/ 5 h 604"/>
                  <a:gd name="T92" fmla="*/ 7 w 1029"/>
                  <a:gd name="T93" fmla="*/ 5 h 604"/>
                  <a:gd name="T94" fmla="*/ 6 w 1029"/>
                  <a:gd name="T95" fmla="*/ 4 h 604"/>
                  <a:gd name="T96" fmla="*/ 6 w 1029"/>
                  <a:gd name="T97" fmla="*/ 4 h 604"/>
                  <a:gd name="T98" fmla="*/ 6 w 1029"/>
                  <a:gd name="T99" fmla="*/ 4 h 604"/>
                  <a:gd name="T100" fmla="*/ 6 w 1029"/>
                  <a:gd name="T101" fmla="*/ 4 h 604"/>
                  <a:gd name="T102" fmla="*/ 6 w 1029"/>
                  <a:gd name="T103" fmla="*/ 3 h 604"/>
                  <a:gd name="T104" fmla="*/ 5 w 1029"/>
                  <a:gd name="T105" fmla="*/ 3 h 604"/>
                  <a:gd name="T106" fmla="*/ 5 w 1029"/>
                  <a:gd name="T107" fmla="*/ 2 h 604"/>
                  <a:gd name="T108" fmla="*/ 5 w 1029"/>
                  <a:gd name="T109" fmla="*/ 2 h 604"/>
                  <a:gd name="T110" fmla="*/ 5 w 1029"/>
                  <a:gd name="T111" fmla="*/ 2 h 604"/>
                  <a:gd name="T112" fmla="*/ 4 w 1029"/>
                  <a:gd name="T113" fmla="*/ 2 h 604"/>
                  <a:gd name="T114" fmla="*/ 2 w 1029"/>
                  <a:gd name="T115" fmla="*/ 2 h 604"/>
                  <a:gd name="T116" fmla="*/ 1 w 1029"/>
                  <a:gd name="T117" fmla="*/ 2 h 604"/>
                  <a:gd name="T118" fmla="*/ 1 w 1029"/>
                  <a:gd name="T119" fmla="*/ 2 h 604"/>
                  <a:gd name="T120" fmla="*/ 0 w 1029"/>
                  <a:gd name="T121" fmla="*/ 2 h 604"/>
                  <a:gd name="T122" fmla="*/ 0 w 1029"/>
                  <a:gd name="T123" fmla="*/ 2 h 604"/>
                  <a:gd name="T124" fmla="*/ 1 w 1029"/>
                  <a:gd name="T125" fmla="*/ 2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9 w 1268"/>
                  <a:gd name="T1" fmla="*/ 0 h 321"/>
                  <a:gd name="T2" fmla="*/ 9 w 1268"/>
                  <a:gd name="T3" fmla="*/ 0 h 321"/>
                  <a:gd name="T4" fmla="*/ 9 w 1268"/>
                  <a:gd name="T5" fmla="*/ 0 h 321"/>
                  <a:gd name="T6" fmla="*/ 9 w 1268"/>
                  <a:gd name="T7" fmla="*/ 0 h 321"/>
                  <a:gd name="T8" fmla="*/ 10 w 1268"/>
                  <a:gd name="T9" fmla="*/ 0 h 321"/>
                  <a:gd name="T10" fmla="*/ 11 w 1268"/>
                  <a:gd name="T11" fmla="*/ 0 h 321"/>
                  <a:gd name="T12" fmla="*/ 12 w 1268"/>
                  <a:gd name="T13" fmla="*/ 0 h 321"/>
                  <a:gd name="T14" fmla="*/ 12 w 1268"/>
                  <a:gd name="T15" fmla="*/ 0 h 321"/>
                  <a:gd name="T16" fmla="*/ 14 w 1268"/>
                  <a:gd name="T17" fmla="*/ 0 h 321"/>
                  <a:gd name="T18" fmla="*/ 14 w 1268"/>
                  <a:gd name="T19" fmla="*/ 1 h 321"/>
                  <a:gd name="T20" fmla="*/ 13 w 1268"/>
                  <a:gd name="T21" fmla="*/ 1 h 321"/>
                  <a:gd name="T22" fmla="*/ 11 w 1268"/>
                  <a:gd name="T23" fmla="*/ 1 h 321"/>
                  <a:gd name="T24" fmla="*/ 11 w 1268"/>
                  <a:gd name="T25" fmla="*/ 1 h 321"/>
                  <a:gd name="T26" fmla="*/ 11 w 1268"/>
                  <a:gd name="T27" fmla="*/ 1 h 321"/>
                  <a:gd name="T28" fmla="*/ 10 w 1268"/>
                  <a:gd name="T29" fmla="*/ 1 h 321"/>
                  <a:gd name="T30" fmla="*/ 10 w 1268"/>
                  <a:gd name="T31" fmla="*/ 1 h 321"/>
                  <a:gd name="T32" fmla="*/ 8 w 1268"/>
                  <a:gd name="T33" fmla="*/ 2 h 321"/>
                  <a:gd name="T34" fmla="*/ 7 w 1268"/>
                  <a:gd name="T35" fmla="*/ 2 h 321"/>
                  <a:gd name="T36" fmla="*/ 7 w 1268"/>
                  <a:gd name="T37" fmla="*/ 2 h 321"/>
                  <a:gd name="T38" fmla="*/ 6 w 1268"/>
                  <a:gd name="T39" fmla="*/ 2 h 321"/>
                  <a:gd name="T40" fmla="*/ 6 w 1268"/>
                  <a:gd name="T41" fmla="*/ 2 h 321"/>
                  <a:gd name="T42" fmla="*/ 6 w 1268"/>
                  <a:gd name="T43" fmla="*/ 2 h 321"/>
                  <a:gd name="T44" fmla="*/ 6 w 1268"/>
                  <a:gd name="T45" fmla="*/ 3 h 321"/>
                  <a:gd name="T46" fmla="*/ 5 w 1268"/>
                  <a:gd name="T47" fmla="*/ 3 h 321"/>
                  <a:gd name="T48" fmla="*/ 5 w 1268"/>
                  <a:gd name="T49" fmla="*/ 3 h 321"/>
                  <a:gd name="T50" fmla="*/ 5 w 1268"/>
                  <a:gd name="T51" fmla="*/ 3 h 321"/>
                  <a:gd name="T52" fmla="*/ 4 w 1268"/>
                  <a:gd name="T53" fmla="*/ 3 h 321"/>
                  <a:gd name="T54" fmla="*/ 4 w 1268"/>
                  <a:gd name="T55" fmla="*/ 4 h 321"/>
                  <a:gd name="T56" fmla="*/ 3 w 1268"/>
                  <a:gd name="T57" fmla="*/ 3 h 321"/>
                  <a:gd name="T58" fmla="*/ 3 w 1268"/>
                  <a:gd name="T59" fmla="*/ 3 h 321"/>
                  <a:gd name="T60" fmla="*/ 1 w 1268"/>
                  <a:gd name="T61" fmla="*/ 3 h 321"/>
                  <a:gd name="T62" fmla="*/ 0 w 1268"/>
                  <a:gd name="T63" fmla="*/ 3 h 321"/>
                  <a:gd name="T64" fmla="*/ 0 w 1268"/>
                  <a:gd name="T65" fmla="*/ 3 h 321"/>
                  <a:gd name="T66" fmla="*/ 1 w 1268"/>
                  <a:gd name="T67" fmla="*/ 3 h 321"/>
                  <a:gd name="T68" fmla="*/ 2 w 1268"/>
                  <a:gd name="T69" fmla="*/ 3 h 321"/>
                  <a:gd name="T70" fmla="*/ 2 w 1268"/>
                  <a:gd name="T71" fmla="*/ 3 h 321"/>
                  <a:gd name="T72" fmla="*/ 2 w 1268"/>
                  <a:gd name="T73" fmla="*/ 3 h 321"/>
                  <a:gd name="T74" fmla="*/ 2 w 1268"/>
                  <a:gd name="T75" fmla="*/ 3 h 321"/>
                  <a:gd name="T76" fmla="*/ 3 w 1268"/>
                  <a:gd name="T77" fmla="*/ 3 h 321"/>
                  <a:gd name="T78" fmla="*/ 2 w 1268"/>
                  <a:gd name="T79" fmla="*/ 2 h 321"/>
                  <a:gd name="T80" fmla="*/ 2 w 1268"/>
                  <a:gd name="T81" fmla="*/ 2 h 321"/>
                  <a:gd name="T82" fmla="*/ 2 w 1268"/>
                  <a:gd name="T83" fmla="*/ 2 h 321"/>
                  <a:gd name="T84" fmla="*/ 3 w 1268"/>
                  <a:gd name="T85" fmla="*/ 2 h 321"/>
                  <a:gd name="T86" fmla="*/ 4 w 1268"/>
                  <a:gd name="T87" fmla="*/ 2 h 321"/>
                  <a:gd name="T88" fmla="*/ 5 w 1268"/>
                  <a:gd name="T89" fmla="*/ 2 h 321"/>
                  <a:gd name="T90" fmla="*/ 4 w 1268"/>
                  <a:gd name="T91" fmla="*/ 2 h 321"/>
                  <a:gd name="T92" fmla="*/ 3 w 1268"/>
                  <a:gd name="T93" fmla="*/ 2 h 321"/>
                  <a:gd name="T94" fmla="*/ 4 w 1268"/>
                  <a:gd name="T95" fmla="*/ 2 h 321"/>
                  <a:gd name="T96" fmla="*/ 5 w 1268"/>
                  <a:gd name="T97" fmla="*/ 2 h 321"/>
                  <a:gd name="T98" fmla="*/ 5 w 1268"/>
                  <a:gd name="T99" fmla="*/ 1 h 321"/>
                  <a:gd name="T100" fmla="*/ 7 w 1268"/>
                  <a:gd name="T101" fmla="*/ 1 h 321"/>
                  <a:gd name="T102" fmla="*/ 6 w 1268"/>
                  <a:gd name="T103" fmla="*/ 1 h 321"/>
                  <a:gd name="T104" fmla="*/ 5 w 1268"/>
                  <a:gd name="T105" fmla="*/ 1 h 321"/>
                  <a:gd name="T106" fmla="*/ 4 w 1268"/>
                  <a:gd name="T107" fmla="*/ 1 h 321"/>
                  <a:gd name="T108" fmla="*/ 3 w 1268"/>
                  <a:gd name="T109" fmla="*/ 1 h 321"/>
                  <a:gd name="T110" fmla="*/ 2 w 1268"/>
                  <a:gd name="T111" fmla="*/ 1 h 321"/>
                  <a:gd name="T112" fmla="*/ 3 w 1268"/>
                  <a:gd name="T113" fmla="*/ 1 h 321"/>
                  <a:gd name="T114" fmla="*/ 5 w 1268"/>
                  <a:gd name="T115" fmla="*/ 1 h 321"/>
                  <a:gd name="T116" fmla="*/ 7 w 1268"/>
                  <a:gd name="T117" fmla="*/ 0 h 321"/>
                  <a:gd name="T118" fmla="*/ 7 w 1268"/>
                  <a:gd name="T119" fmla="*/ 0 h 321"/>
                  <a:gd name="T120" fmla="*/ 8 w 1268"/>
                  <a:gd name="T121" fmla="*/ 0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1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0 h 117"/>
                  <a:gd name="T4" fmla="*/ 0 w 160"/>
                  <a:gd name="T5" fmla="*/ 0 h 117"/>
                  <a:gd name="T6" fmla="*/ 0 w 160"/>
                  <a:gd name="T7" fmla="*/ 0 h 117"/>
                  <a:gd name="T8" fmla="*/ 0 w 160"/>
                  <a:gd name="T9" fmla="*/ 0 h 117"/>
                  <a:gd name="T10" fmla="*/ 0 w 160"/>
                  <a:gd name="T11" fmla="*/ 1 h 117"/>
                  <a:gd name="T12" fmla="*/ 0 w 160"/>
                  <a:gd name="T13" fmla="*/ 1 h 117"/>
                  <a:gd name="T14" fmla="*/ 0 w 160"/>
                  <a:gd name="T15" fmla="*/ 1 h 117"/>
                  <a:gd name="T16" fmla="*/ 1 w 160"/>
                  <a:gd name="T17" fmla="*/ 1 h 117"/>
                  <a:gd name="T18" fmla="*/ 1 w 160"/>
                  <a:gd name="T19" fmla="*/ 1 h 117"/>
                  <a:gd name="T20" fmla="*/ 1 w 160"/>
                  <a:gd name="T21" fmla="*/ 1 h 117"/>
                  <a:gd name="T22" fmla="*/ 1 w 160"/>
                  <a:gd name="T23" fmla="*/ 1 h 117"/>
                  <a:gd name="T24" fmla="*/ 1 w 160"/>
                  <a:gd name="T25" fmla="*/ 1 h 117"/>
                  <a:gd name="T26" fmla="*/ 1 w 160"/>
                  <a:gd name="T27" fmla="*/ 1 h 117"/>
                  <a:gd name="T28" fmla="*/ 1 w 160"/>
                  <a:gd name="T29" fmla="*/ 1 h 117"/>
                  <a:gd name="T30" fmla="*/ 1 w 160"/>
                  <a:gd name="T31" fmla="*/ 1 h 117"/>
                  <a:gd name="T32" fmla="*/ 1 w 160"/>
                  <a:gd name="T33" fmla="*/ 1 h 117"/>
                  <a:gd name="T34" fmla="*/ 1 w 160"/>
                  <a:gd name="T35" fmla="*/ 1 h 117"/>
                  <a:gd name="T36" fmla="*/ 2 w 160"/>
                  <a:gd name="T37" fmla="*/ 1 h 117"/>
                  <a:gd name="T38" fmla="*/ 2 w 160"/>
                  <a:gd name="T39" fmla="*/ 1 h 117"/>
                  <a:gd name="T40" fmla="*/ 2 w 160"/>
                  <a:gd name="T41" fmla="*/ 1 h 117"/>
                  <a:gd name="T42" fmla="*/ 2 w 160"/>
                  <a:gd name="T43" fmla="*/ 1 h 117"/>
                  <a:gd name="T44" fmla="*/ 1 w 160"/>
                  <a:gd name="T45" fmla="*/ 1 h 117"/>
                  <a:gd name="T46" fmla="*/ 1 w 160"/>
                  <a:gd name="T47" fmla="*/ 1 h 117"/>
                  <a:gd name="T48" fmla="*/ 1 w 160"/>
                  <a:gd name="T49" fmla="*/ 1 h 117"/>
                  <a:gd name="T50" fmla="*/ 1 w 160"/>
                  <a:gd name="T51" fmla="*/ 1 h 117"/>
                  <a:gd name="T52" fmla="*/ 1 w 160"/>
                  <a:gd name="T53" fmla="*/ 1 h 117"/>
                  <a:gd name="T54" fmla="*/ 1 w 160"/>
                  <a:gd name="T55" fmla="*/ 1 h 117"/>
                  <a:gd name="T56" fmla="*/ 1 w 160"/>
                  <a:gd name="T57" fmla="*/ 1 h 117"/>
                  <a:gd name="T58" fmla="*/ 1 w 160"/>
                  <a:gd name="T59" fmla="*/ 0 h 117"/>
                  <a:gd name="T60" fmla="*/ 1 w 160"/>
                  <a:gd name="T61" fmla="*/ 0 h 117"/>
                  <a:gd name="T62" fmla="*/ 1 w 160"/>
                  <a:gd name="T63" fmla="*/ 0 h 117"/>
                  <a:gd name="T64" fmla="*/ 1 w 160"/>
                  <a:gd name="T65" fmla="*/ 0 h 117"/>
                  <a:gd name="T66" fmla="*/ 1 w 160"/>
                  <a:gd name="T67" fmla="*/ 0 h 117"/>
                  <a:gd name="T68" fmla="*/ 1 w 160"/>
                  <a:gd name="T69" fmla="*/ 0 h 117"/>
                  <a:gd name="T70" fmla="*/ 1 w 160"/>
                  <a:gd name="T71" fmla="*/ 0 h 117"/>
                  <a:gd name="T72" fmla="*/ 1 w 160"/>
                  <a:gd name="T73" fmla="*/ 0 h 117"/>
                  <a:gd name="T74" fmla="*/ 1 w 160"/>
                  <a:gd name="T75" fmla="*/ 0 h 117"/>
                  <a:gd name="T76" fmla="*/ 1 w 160"/>
                  <a:gd name="T77" fmla="*/ 0 h 117"/>
                  <a:gd name="T78" fmla="*/ 0 w 160"/>
                  <a:gd name="T79" fmla="*/ 0 h 117"/>
                  <a:gd name="T80" fmla="*/ 0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0 w 80"/>
                  <a:gd name="T1" fmla="*/ 1 h 141"/>
                  <a:gd name="T2" fmla="*/ 1 w 80"/>
                  <a:gd name="T3" fmla="*/ 0 h 141"/>
                  <a:gd name="T4" fmla="*/ 1 w 80"/>
                  <a:gd name="T5" fmla="*/ 0 h 141"/>
                  <a:gd name="T6" fmla="*/ 1 w 80"/>
                  <a:gd name="T7" fmla="*/ 0 h 141"/>
                  <a:gd name="T8" fmla="*/ 1 w 80"/>
                  <a:gd name="T9" fmla="*/ 0 h 141"/>
                  <a:gd name="T10" fmla="*/ 1 w 80"/>
                  <a:gd name="T11" fmla="*/ 0 h 141"/>
                  <a:gd name="T12" fmla="*/ 1 w 80"/>
                  <a:gd name="T13" fmla="*/ 0 h 141"/>
                  <a:gd name="T14" fmla="*/ 1 w 80"/>
                  <a:gd name="T15" fmla="*/ 0 h 141"/>
                  <a:gd name="T16" fmla="*/ 1 w 80"/>
                  <a:gd name="T17" fmla="*/ 0 h 141"/>
                  <a:gd name="T18" fmla="*/ 0 w 80"/>
                  <a:gd name="T19" fmla="*/ 0 h 141"/>
                  <a:gd name="T20" fmla="*/ 0 w 80"/>
                  <a:gd name="T21" fmla="*/ 0 h 141"/>
                  <a:gd name="T22" fmla="*/ 0 w 80"/>
                  <a:gd name="T23" fmla="*/ 0 h 141"/>
                  <a:gd name="T24" fmla="*/ 0 w 80"/>
                  <a:gd name="T25" fmla="*/ 0 h 141"/>
                  <a:gd name="T26" fmla="*/ 0 w 80"/>
                  <a:gd name="T27" fmla="*/ 0 h 141"/>
                  <a:gd name="T28" fmla="*/ 0 w 80"/>
                  <a:gd name="T29" fmla="*/ 1 h 141"/>
                  <a:gd name="T30" fmla="*/ 0 w 80"/>
                  <a:gd name="T31" fmla="*/ 1 h 141"/>
                  <a:gd name="T32" fmla="*/ 0 w 80"/>
                  <a:gd name="T33" fmla="*/ 1 h 141"/>
                  <a:gd name="T34" fmla="*/ 0 w 80"/>
                  <a:gd name="T35" fmla="*/ 1 h 141"/>
                  <a:gd name="T36" fmla="*/ 0 w 80"/>
                  <a:gd name="T37" fmla="*/ 1 h 141"/>
                  <a:gd name="T38" fmla="*/ 0 w 80"/>
                  <a:gd name="T39" fmla="*/ 1 h 141"/>
                  <a:gd name="T40" fmla="*/ 0 w 80"/>
                  <a:gd name="T41" fmla="*/ 1 h 141"/>
                  <a:gd name="T42" fmla="*/ 0 w 80"/>
                  <a:gd name="T43" fmla="*/ 2 h 141"/>
                  <a:gd name="T44" fmla="*/ 0 w 80"/>
                  <a:gd name="T45" fmla="*/ 2 h 141"/>
                  <a:gd name="T46" fmla="*/ 0 w 80"/>
                  <a:gd name="T47" fmla="*/ 2 h 141"/>
                  <a:gd name="T48" fmla="*/ 0 w 80"/>
                  <a:gd name="T49" fmla="*/ 1 h 141"/>
                  <a:gd name="T50" fmla="*/ 0 w 80"/>
                  <a:gd name="T51" fmla="*/ 1 h 141"/>
                  <a:gd name="T52" fmla="*/ 0 w 80"/>
                  <a:gd name="T53" fmla="*/ 1 h 141"/>
                  <a:gd name="T54" fmla="*/ 0 w 80"/>
                  <a:gd name="T55" fmla="*/ 1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 h 124"/>
                  <a:gd name="T2" fmla="*/ 0 w 259"/>
                  <a:gd name="T3" fmla="*/ 1 h 124"/>
                  <a:gd name="T4" fmla="*/ 0 w 259"/>
                  <a:gd name="T5" fmla="*/ 1 h 124"/>
                  <a:gd name="T6" fmla="*/ 0 w 259"/>
                  <a:gd name="T7" fmla="*/ 1 h 124"/>
                  <a:gd name="T8" fmla="*/ 0 w 259"/>
                  <a:gd name="T9" fmla="*/ 1 h 124"/>
                  <a:gd name="T10" fmla="*/ 0 w 259"/>
                  <a:gd name="T11" fmla="*/ 1 h 124"/>
                  <a:gd name="T12" fmla="*/ 0 w 259"/>
                  <a:gd name="T13" fmla="*/ 1 h 124"/>
                  <a:gd name="T14" fmla="*/ 0 w 259"/>
                  <a:gd name="T15" fmla="*/ 1 h 124"/>
                  <a:gd name="T16" fmla="*/ 0 w 259"/>
                  <a:gd name="T17" fmla="*/ 1 h 124"/>
                  <a:gd name="T18" fmla="*/ 1 w 259"/>
                  <a:gd name="T19" fmla="*/ 2 h 124"/>
                  <a:gd name="T20" fmla="*/ 1 w 259"/>
                  <a:gd name="T21" fmla="*/ 2 h 124"/>
                  <a:gd name="T22" fmla="*/ 1 w 259"/>
                  <a:gd name="T23" fmla="*/ 2 h 124"/>
                  <a:gd name="T24" fmla="*/ 1 w 259"/>
                  <a:gd name="T25" fmla="*/ 2 h 124"/>
                  <a:gd name="T26" fmla="*/ 1 w 259"/>
                  <a:gd name="T27" fmla="*/ 1 h 124"/>
                  <a:gd name="T28" fmla="*/ 1 w 259"/>
                  <a:gd name="T29" fmla="*/ 1 h 124"/>
                  <a:gd name="T30" fmla="*/ 1 w 259"/>
                  <a:gd name="T31" fmla="*/ 1 h 124"/>
                  <a:gd name="T32" fmla="*/ 1 w 259"/>
                  <a:gd name="T33" fmla="*/ 1 h 124"/>
                  <a:gd name="T34" fmla="*/ 1 w 259"/>
                  <a:gd name="T35" fmla="*/ 1 h 124"/>
                  <a:gd name="T36" fmla="*/ 1 w 259"/>
                  <a:gd name="T37" fmla="*/ 1 h 124"/>
                  <a:gd name="T38" fmla="*/ 1 w 259"/>
                  <a:gd name="T39" fmla="*/ 1 h 124"/>
                  <a:gd name="T40" fmla="*/ 1 w 259"/>
                  <a:gd name="T41" fmla="*/ 1 h 124"/>
                  <a:gd name="T42" fmla="*/ 2 w 259"/>
                  <a:gd name="T43" fmla="*/ 1 h 124"/>
                  <a:gd name="T44" fmla="*/ 2 w 259"/>
                  <a:gd name="T45" fmla="*/ 1 h 124"/>
                  <a:gd name="T46" fmla="*/ 2 w 259"/>
                  <a:gd name="T47" fmla="*/ 1 h 124"/>
                  <a:gd name="T48" fmla="*/ 2 w 259"/>
                  <a:gd name="T49" fmla="*/ 1 h 124"/>
                  <a:gd name="T50" fmla="*/ 2 w 259"/>
                  <a:gd name="T51" fmla="*/ 1 h 124"/>
                  <a:gd name="T52" fmla="*/ 2 w 259"/>
                  <a:gd name="T53" fmla="*/ 1 h 124"/>
                  <a:gd name="T54" fmla="*/ 2 w 259"/>
                  <a:gd name="T55" fmla="*/ 1 h 124"/>
                  <a:gd name="T56" fmla="*/ 2 w 259"/>
                  <a:gd name="T57" fmla="*/ 1 h 124"/>
                  <a:gd name="T58" fmla="*/ 3 w 259"/>
                  <a:gd name="T59" fmla="*/ 1 h 124"/>
                  <a:gd name="T60" fmla="*/ 3 w 259"/>
                  <a:gd name="T61" fmla="*/ 1 h 124"/>
                  <a:gd name="T62" fmla="*/ 3 w 259"/>
                  <a:gd name="T63" fmla="*/ 1 h 124"/>
                  <a:gd name="T64" fmla="*/ 3 w 259"/>
                  <a:gd name="T65" fmla="*/ 1 h 124"/>
                  <a:gd name="T66" fmla="*/ 3 w 259"/>
                  <a:gd name="T67" fmla="*/ 1 h 124"/>
                  <a:gd name="T68" fmla="*/ 2 w 259"/>
                  <a:gd name="T69" fmla="*/ 1 h 124"/>
                  <a:gd name="T70" fmla="*/ 3 w 259"/>
                  <a:gd name="T71" fmla="*/ 1 h 124"/>
                  <a:gd name="T72" fmla="*/ 3 w 259"/>
                  <a:gd name="T73" fmla="*/ 1 h 124"/>
                  <a:gd name="T74" fmla="*/ 3 w 259"/>
                  <a:gd name="T75" fmla="*/ 1 h 124"/>
                  <a:gd name="T76" fmla="*/ 3 w 259"/>
                  <a:gd name="T77" fmla="*/ 1 h 124"/>
                  <a:gd name="T78" fmla="*/ 3 w 259"/>
                  <a:gd name="T79" fmla="*/ 1 h 124"/>
                  <a:gd name="T80" fmla="*/ 3 w 259"/>
                  <a:gd name="T81" fmla="*/ 1 h 124"/>
                  <a:gd name="T82" fmla="*/ 2 w 259"/>
                  <a:gd name="T83" fmla="*/ 1 h 124"/>
                  <a:gd name="T84" fmla="*/ 2 w 259"/>
                  <a:gd name="T85" fmla="*/ 1 h 124"/>
                  <a:gd name="T86" fmla="*/ 2 w 259"/>
                  <a:gd name="T87" fmla="*/ 0 h 124"/>
                  <a:gd name="T88" fmla="*/ 2 w 259"/>
                  <a:gd name="T89" fmla="*/ 0 h 124"/>
                  <a:gd name="T90" fmla="*/ 2 w 259"/>
                  <a:gd name="T91" fmla="*/ 0 h 124"/>
                  <a:gd name="T92" fmla="*/ 2 w 259"/>
                  <a:gd name="T93" fmla="*/ 0 h 124"/>
                  <a:gd name="T94" fmla="*/ 2 w 259"/>
                  <a:gd name="T95" fmla="*/ 0 h 124"/>
                  <a:gd name="T96" fmla="*/ 1 w 259"/>
                  <a:gd name="T97" fmla="*/ 0 h 124"/>
                  <a:gd name="T98" fmla="*/ 1 w 259"/>
                  <a:gd name="T99" fmla="*/ 0 h 124"/>
                  <a:gd name="T100" fmla="*/ 1 w 259"/>
                  <a:gd name="T101" fmla="*/ 0 h 124"/>
                  <a:gd name="T102" fmla="*/ 1 w 259"/>
                  <a:gd name="T103" fmla="*/ 0 h 124"/>
                  <a:gd name="T104" fmla="*/ 1 w 259"/>
                  <a:gd name="T105" fmla="*/ 0 h 124"/>
                  <a:gd name="T106" fmla="*/ 1 w 259"/>
                  <a:gd name="T107" fmla="*/ 0 h 124"/>
                  <a:gd name="T108" fmla="*/ 1 w 259"/>
                  <a:gd name="T109" fmla="*/ 0 h 124"/>
                  <a:gd name="T110" fmla="*/ 1 w 259"/>
                  <a:gd name="T111" fmla="*/ 0 h 124"/>
                  <a:gd name="T112" fmla="*/ 1 w 259"/>
                  <a:gd name="T113" fmla="*/ 1 h 124"/>
                  <a:gd name="T114" fmla="*/ 0 w 259"/>
                  <a:gd name="T115" fmla="*/ 1 h 124"/>
                  <a:gd name="T116" fmla="*/ 0 w 259"/>
                  <a:gd name="T117" fmla="*/ 1 h 124"/>
                  <a:gd name="T118" fmla="*/ 0 w 259"/>
                  <a:gd name="T119" fmla="*/ 1 h 124"/>
                  <a:gd name="T120" fmla="*/ 0 w 259"/>
                  <a:gd name="T121" fmla="*/ 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0 h 57"/>
                  <a:gd name="T2" fmla="*/ 0 w 119"/>
                  <a:gd name="T3" fmla="*/ 0 h 57"/>
                  <a:gd name="T4" fmla="*/ 0 w 119"/>
                  <a:gd name="T5" fmla="*/ 0 h 57"/>
                  <a:gd name="T6" fmla="*/ 0 w 119"/>
                  <a:gd name="T7" fmla="*/ 1 h 57"/>
                  <a:gd name="T8" fmla="*/ 0 w 119"/>
                  <a:gd name="T9" fmla="*/ 1 h 57"/>
                  <a:gd name="T10" fmla="*/ 0 w 119"/>
                  <a:gd name="T11" fmla="*/ 1 h 57"/>
                  <a:gd name="T12" fmla="*/ 0 w 119"/>
                  <a:gd name="T13" fmla="*/ 1 h 57"/>
                  <a:gd name="T14" fmla="*/ 0 w 119"/>
                  <a:gd name="T15" fmla="*/ 1 h 57"/>
                  <a:gd name="T16" fmla="*/ 1 w 119"/>
                  <a:gd name="T17" fmla="*/ 1 h 57"/>
                  <a:gd name="T18" fmla="*/ 1 w 119"/>
                  <a:gd name="T19" fmla="*/ 1 h 57"/>
                  <a:gd name="T20" fmla="*/ 1 w 119"/>
                  <a:gd name="T21" fmla="*/ 1 h 57"/>
                  <a:gd name="T22" fmla="*/ 1 w 119"/>
                  <a:gd name="T23" fmla="*/ 1 h 57"/>
                  <a:gd name="T24" fmla="*/ 1 w 119"/>
                  <a:gd name="T25" fmla="*/ 1 h 57"/>
                  <a:gd name="T26" fmla="*/ 1 w 119"/>
                  <a:gd name="T27" fmla="*/ 1 h 57"/>
                  <a:gd name="T28" fmla="*/ 1 w 119"/>
                  <a:gd name="T29" fmla="*/ 1 h 57"/>
                  <a:gd name="T30" fmla="*/ 1 w 119"/>
                  <a:gd name="T31" fmla="*/ 1 h 57"/>
                  <a:gd name="T32" fmla="*/ 1 w 119"/>
                  <a:gd name="T33" fmla="*/ 0 h 57"/>
                  <a:gd name="T34" fmla="*/ 1 w 119"/>
                  <a:gd name="T35" fmla="*/ 0 h 57"/>
                  <a:gd name="T36" fmla="*/ 1 w 119"/>
                  <a:gd name="T37" fmla="*/ 0 h 57"/>
                  <a:gd name="T38" fmla="*/ 1 w 119"/>
                  <a:gd name="T39" fmla="*/ 0 h 57"/>
                  <a:gd name="T40" fmla="*/ 1 w 119"/>
                  <a:gd name="T41" fmla="*/ 0 h 57"/>
                  <a:gd name="T42" fmla="*/ 1 w 119"/>
                  <a:gd name="T43" fmla="*/ 0 h 57"/>
                  <a:gd name="T44" fmla="*/ 1 w 119"/>
                  <a:gd name="T45" fmla="*/ 0 h 57"/>
                  <a:gd name="T46" fmla="*/ 1 w 119"/>
                  <a:gd name="T47" fmla="*/ 0 h 57"/>
                  <a:gd name="T48" fmla="*/ 0 w 119"/>
                  <a:gd name="T49" fmla="*/ 0 h 57"/>
                  <a:gd name="T50" fmla="*/ 0 w 119"/>
                  <a:gd name="T51" fmla="*/ 0 h 57"/>
                  <a:gd name="T52" fmla="*/ 0 w 119"/>
                  <a:gd name="T53" fmla="*/ 0 h 57"/>
                  <a:gd name="T54" fmla="*/ 0 w 119"/>
                  <a:gd name="T55" fmla="*/ 0 h 57"/>
                  <a:gd name="T56" fmla="*/ 0 w 119"/>
                  <a:gd name="T57" fmla="*/ 0 h 57"/>
                  <a:gd name="T58" fmla="*/ 0 w 119"/>
                  <a:gd name="T59" fmla="*/ 0 h 57"/>
                  <a:gd name="T60" fmla="*/ 0 w 119"/>
                  <a:gd name="T61" fmla="*/ 0 h 57"/>
                  <a:gd name="T62" fmla="*/ 0 w 119"/>
                  <a:gd name="T63" fmla="*/ 0 h 57"/>
                  <a:gd name="T64" fmla="*/ 0 w 119"/>
                  <a:gd name="T65" fmla="*/ 0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 h 52"/>
                  <a:gd name="T2" fmla="*/ 0 w 107"/>
                  <a:gd name="T3" fmla="*/ 1 h 52"/>
                  <a:gd name="T4" fmla="*/ 0 w 107"/>
                  <a:gd name="T5" fmla="*/ 1 h 52"/>
                  <a:gd name="T6" fmla="*/ 0 w 107"/>
                  <a:gd name="T7" fmla="*/ 1 h 52"/>
                  <a:gd name="T8" fmla="*/ 0 w 107"/>
                  <a:gd name="T9" fmla="*/ 1 h 52"/>
                  <a:gd name="T10" fmla="*/ 0 w 107"/>
                  <a:gd name="T11" fmla="*/ 1 h 52"/>
                  <a:gd name="T12" fmla="*/ 0 w 107"/>
                  <a:gd name="T13" fmla="*/ 1 h 52"/>
                  <a:gd name="T14" fmla="*/ 0 w 107"/>
                  <a:gd name="T15" fmla="*/ 1 h 52"/>
                  <a:gd name="T16" fmla="*/ 1 w 107"/>
                  <a:gd name="T17" fmla="*/ 1 h 52"/>
                  <a:gd name="T18" fmla="*/ 1 w 107"/>
                  <a:gd name="T19" fmla="*/ 1 h 52"/>
                  <a:gd name="T20" fmla="*/ 1 w 107"/>
                  <a:gd name="T21" fmla="*/ 1 h 52"/>
                  <a:gd name="T22" fmla="*/ 1 w 107"/>
                  <a:gd name="T23" fmla="*/ 0 h 52"/>
                  <a:gd name="T24" fmla="*/ 1 w 107"/>
                  <a:gd name="T25" fmla="*/ 0 h 52"/>
                  <a:gd name="T26" fmla="*/ 1 w 107"/>
                  <a:gd name="T27" fmla="*/ 0 h 52"/>
                  <a:gd name="T28" fmla="*/ 1 w 107"/>
                  <a:gd name="T29" fmla="*/ 0 h 52"/>
                  <a:gd name="T30" fmla="*/ 1 w 107"/>
                  <a:gd name="T31" fmla="*/ 0 h 52"/>
                  <a:gd name="T32" fmla="*/ 1 w 107"/>
                  <a:gd name="T33" fmla="*/ 0 h 52"/>
                  <a:gd name="T34" fmla="*/ 1 w 107"/>
                  <a:gd name="T35" fmla="*/ 0 h 52"/>
                  <a:gd name="T36" fmla="*/ 1 w 107"/>
                  <a:gd name="T37" fmla="*/ 0 h 52"/>
                  <a:gd name="T38" fmla="*/ 1 w 107"/>
                  <a:gd name="T39" fmla="*/ 0 h 52"/>
                  <a:gd name="T40" fmla="*/ 0 w 107"/>
                  <a:gd name="T41" fmla="*/ 0 h 52"/>
                  <a:gd name="T42" fmla="*/ 0 w 107"/>
                  <a:gd name="T43" fmla="*/ 0 h 52"/>
                  <a:gd name="T44" fmla="*/ 0 w 107"/>
                  <a:gd name="T45" fmla="*/ 0 h 52"/>
                  <a:gd name="T46" fmla="*/ 0 w 107"/>
                  <a:gd name="T47" fmla="*/ 0 h 52"/>
                  <a:gd name="T48" fmla="*/ 0 w 107"/>
                  <a:gd name="T49" fmla="*/ 1 h 52"/>
                  <a:gd name="T50" fmla="*/ 0 w 107"/>
                  <a:gd name="T51" fmla="*/ 1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0 w 246"/>
                  <a:gd name="T1" fmla="*/ 1 h 99"/>
                  <a:gd name="T2" fmla="*/ 0 w 246"/>
                  <a:gd name="T3" fmla="*/ 1 h 99"/>
                  <a:gd name="T4" fmla="*/ 0 w 246"/>
                  <a:gd name="T5" fmla="*/ 1 h 99"/>
                  <a:gd name="T6" fmla="*/ 0 w 246"/>
                  <a:gd name="T7" fmla="*/ 1 h 99"/>
                  <a:gd name="T8" fmla="*/ 0 w 246"/>
                  <a:gd name="T9" fmla="*/ 1 h 99"/>
                  <a:gd name="T10" fmla="*/ 0 w 246"/>
                  <a:gd name="T11" fmla="*/ 1 h 99"/>
                  <a:gd name="T12" fmla="*/ 0 w 246"/>
                  <a:gd name="T13" fmla="*/ 1 h 99"/>
                  <a:gd name="T14" fmla="*/ 0 w 246"/>
                  <a:gd name="T15" fmla="*/ 1 h 99"/>
                  <a:gd name="T16" fmla="*/ 0 w 246"/>
                  <a:gd name="T17" fmla="*/ 1 h 99"/>
                  <a:gd name="T18" fmla="*/ 0 w 246"/>
                  <a:gd name="T19" fmla="*/ 1 h 99"/>
                  <a:gd name="T20" fmla="*/ 0 w 246"/>
                  <a:gd name="T21" fmla="*/ 1 h 99"/>
                  <a:gd name="T22" fmla="*/ 0 w 246"/>
                  <a:gd name="T23" fmla="*/ 1 h 99"/>
                  <a:gd name="T24" fmla="*/ 0 w 246"/>
                  <a:gd name="T25" fmla="*/ 1 h 99"/>
                  <a:gd name="T26" fmla="*/ 0 w 246"/>
                  <a:gd name="T27" fmla="*/ 1 h 99"/>
                  <a:gd name="T28" fmla="*/ 0 w 246"/>
                  <a:gd name="T29" fmla="*/ 0 h 99"/>
                  <a:gd name="T30" fmla="*/ 0 w 246"/>
                  <a:gd name="T31" fmla="*/ 0 h 99"/>
                  <a:gd name="T32" fmla="*/ 0 w 246"/>
                  <a:gd name="T33" fmla="*/ 0 h 99"/>
                  <a:gd name="T34" fmla="*/ 1 w 246"/>
                  <a:gd name="T35" fmla="*/ 0 h 99"/>
                  <a:gd name="T36" fmla="*/ 1 w 246"/>
                  <a:gd name="T37" fmla="*/ 0 h 99"/>
                  <a:gd name="T38" fmla="*/ 1 w 246"/>
                  <a:gd name="T39" fmla="*/ 0 h 99"/>
                  <a:gd name="T40" fmla="*/ 1 w 246"/>
                  <a:gd name="T41" fmla="*/ 0 h 99"/>
                  <a:gd name="T42" fmla="*/ 1 w 246"/>
                  <a:gd name="T43" fmla="*/ 0 h 99"/>
                  <a:gd name="T44" fmla="*/ 1 w 246"/>
                  <a:gd name="T45" fmla="*/ 0 h 99"/>
                  <a:gd name="T46" fmla="*/ 1 w 246"/>
                  <a:gd name="T47" fmla="*/ 0 h 99"/>
                  <a:gd name="T48" fmla="*/ 1 w 246"/>
                  <a:gd name="T49" fmla="*/ 0 h 99"/>
                  <a:gd name="T50" fmla="*/ 2 w 246"/>
                  <a:gd name="T51" fmla="*/ 0 h 99"/>
                  <a:gd name="T52" fmla="*/ 2 w 246"/>
                  <a:gd name="T53" fmla="*/ 0 h 99"/>
                  <a:gd name="T54" fmla="*/ 2 w 246"/>
                  <a:gd name="T55" fmla="*/ 0 h 99"/>
                  <a:gd name="T56" fmla="*/ 3 w 246"/>
                  <a:gd name="T57" fmla="*/ 0 h 99"/>
                  <a:gd name="T58" fmla="*/ 3 w 246"/>
                  <a:gd name="T59" fmla="*/ 0 h 99"/>
                  <a:gd name="T60" fmla="*/ 3 w 246"/>
                  <a:gd name="T61" fmla="*/ 0 h 99"/>
                  <a:gd name="T62" fmla="*/ 3 w 246"/>
                  <a:gd name="T63" fmla="*/ 0 h 99"/>
                  <a:gd name="T64" fmla="*/ 3 w 246"/>
                  <a:gd name="T65" fmla="*/ 0 h 99"/>
                  <a:gd name="T66" fmla="*/ 2 w 246"/>
                  <a:gd name="T67" fmla="*/ 0 h 99"/>
                  <a:gd name="T68" fmla="*/ 2 w 246"/>
                  <a:gd name="T69" fmla="*/ 1 h 99"/>
                  <a:gd name="T70" fmla="*/ 2 w 246"/>
                  <a:gd name="T71" fmla="*/ 1 h 99"/>
                  <a:gd name="T72" fmla="*/ 2 w 246"/>
                  <a:gd name="T73" fmla="*/ 1 h 99"/>
                  <a:gd name="T74" fmla="*/ 2 w 246"/>
                  <a:gd name="T75" fmla="*/ 1 h 99"/>
                  <a:gd name="T76" fmla="*/ 2 w 246"/>
                  <a:gd name="T77" fmla="*/ 1 h 99"/>
                  <a:gd name="T78" fmla="*/ 1 w 246"/>
                  <a:gd name="T79" fmla="*/ 1 h 99"/>
                  <a:gd name="T80" fmla="*/ 1 w 246"/>
                  <a:gd name="T81" fmla="*/ 1 h 99"/>
                  <a:gd name="T82" fmla="*/ 1 w 246"/>
                  <a:gd name="T83" fmla="*/ 1 h 99"/>
                  <a:gd name="T84" fmla="*/ 1 w 246"/>
                  <a:gd name="T85" fmla="*/ 1 h 99"/>
                  <a:gd name="T86" fmla="*/ 1 w 246"/>
                  <a:gd name="T87" fmla="*/ 1 h 99"/>
                  <a:gd name="T88" fmla="*/ 1 w 246"/>
                  <a:gd name="T89" fmla="*/ 1 h 99"/>
                  <a:gd name="T90" fmla="*/ 1 w 246"/>
                  <a:gd name="T91" fmla="*/ 1 h 99"/>
                  <a:gd name="T92" fmla="*/ 1 w 246"/>
                  <a:gd name="T93" fmla="*/ 1 h 99"/>
                  <a:gd name="T94" fmla="*/ 1 w 246"/>
                  <a:gd name="T95" fmla="*/ 1 h 99"/>
                  <a:gd name="T96" fmla="*/ 1 w 246"/>
                  <a:gd name="T97" fmla="*/ 1 h 99"/>
                  <a:gd name="T98" fmla="*/ 1 w 246"/>
                  <a:gd name="T99" fmla="*/ 1 h 99"/>
                  <a:gd name="T100" fmla="*/ 0 w 246"/>
                  <a:gd name="T101" fmla="*/ 1 h 99"/>
                  <a:gd name="T102" fmla="*/ 0 w 246"/>
                  <a:gd name="T103" fmla="*/ 1 h 99"/>
                  <a:gd name="T104" fmla="*/ 0 w 246"/>
                  <a:gd name="T105" fmla="*/ 1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0 w 233"/>
                  <a:gd name="T1" fmla="*/ 1 h 123"/>
                  <a:gd name="T2" fmla="*/ 0 w 233"/>
                  <a:gd name="T3" fmla="*/ 1 h 123"/>
                  <a:gd name="T4" fmla="*/ 0 w 233"/>
                  <a:gd name="T5" fmla="*/ 1 h 123"/>
                  <a:gd name="T6" fmla="*/ 0 w 233"/>
                  <a:gd name="T7" fmla="*/ 0 h 123"/>
                  <a:gd name="T8" fmla="*/ 0 w 233"/>
                  <a:gd name="T9" fmla="*/ 0 h 123"/>
                  <a:gd name="T10" fmla="*/ 1 w 233"/>
                  <a:gd name="T11" fmla="*/ 0 h 123"/>
                  <a:gd name="T12" fmla="*/ 1 w 233"/>
                  <a:gd name="T13" fmla="*/ 0 h 123"/>
                  <a:gd name="T14" fmla="*/ 1 w 233"/>
                  <a:gd name="T15" fmla="*/ 0 h 123"/>
                  <a:gd name="T16" fmla="*/ 1 w 233"/>
                  <a:gd name="T17" fmla="*/ 0 h 123"/>
                  <a:gd name="T18" fmla="*/ 1 w 233"/>
                  <a:gd name="T19" fmla="*/ 0 h 123"/>
                  <a:gd name="T20" fmla="*/ 2 w 233"/>
                  <a:gd name="T21" fmla="*/ 0 h 123"/>
                  <a:gd name="T22" fmla="*/ 2 w 233"/>
                  <a:gd name="T23" fmla="*/ 0 h 123"/>
                  <a:gd name="T24" fmla="*/ 2 w 233"/>
                  <a:gd name="T25" fmla="*/ 0 h 123"/>
                  <a:gd name="T26" fmla="*/ 2 w 233"/>
                  <a:gd name="T27" fmla="*/ 0 h 123"/>
                  <a:gd name="T28" fmla="*/ 2 w 233"/>
                  <a:gd name="T29" fmla="*/ 0 h 123"/>
                  <a:gd name="T30" fmla="*/ 3 w 233"/>
                  <a:gd name="T31" fmla="*/ 0 h 123"/>
                  <a:gd name="T32" fmla="*/ 3 w 233"/>
                  <a:gd name="T33" fmla="*/ 0 h 123"/>
                  <a:gd name="T34" fmla="*/ 3 w 233"/>
                  <a:gd name="T35" fmla="*/ 0 h 123"/>
                  <a:gd name="T36" fmla="*/ 3 w 233"/>
                  <a:gd name="T37" fmla="*/ 0 h 123"/>
                  <a:gd name="T38" fmla="*/ 2 w 233"/>
                  <a:gd name="T39" fmla="*/ 0 h 123"/>
                  <a:gd name="T40" fmla="*/ 2 w 233"/>
                  <a:gd name="T41" fmla="*/ 1 h 123"/>
                  <a:gd name="T42" fmla="*/ 2 w 233"/>
                  <a:gd name="T43" fmla="*/ 1 h 123"/>
                  <a:gd name="T44" fmla="*/ 2 w 233"/>
                  <a:gd name="T45" fmla="*/ 1 h 123"/>
                  <a:gd name="T46" fmla="*/ 2 w 233"/>
                  <a:gd name="T47" fmla="*/ 1 h 123"/>
                  <a:gd name="T48" fmla="*/ 2 w 233"/>
                  <a:gd name="T49" fmla="*/ 1 h 123"/>
                  <a:gd name="T50" fmla="*/ 1 w 233"/>
                  <a:gd name="T51" fmla="*/ 1 h 123"/>
                  <a:gd name="T52" fmla="*/ 1 w 233"/>
                  <a:gd name="T53" fmla="*/ 1 h 123"/>
                  <a:gd name="T54" fmla="*/ 1 w 233"/>
                  <a:gd name="T55" fmla="*/ 1 h 123"/>
                  <a:gd name="T56" fmla="*/ 1 w 233"/>
                  <a:gd name="T57" fmla="*/ 1 h 123"/>
                  <a:gd name="T58" fmla="*/ 1 w 233"/>
                  <a:gd name="T59" fmla="*/ 1 h 123"/>
                  <a:gd name="T60" fmla="*/ 1 w 233"/>
                  <a:gd name="T61" fmla="*/ 1 h 123"/>
                  <a:gd name="T62" fmla="*/ 1 w 233"/>
                  <a:gd name="T63" fmla="*/ 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2 h 172"/>
                  <a:gd name="T2" fmla="*/ 0 w 484"/>
                  <a:gd name="T3" fmla="*/ 2 h 172"/>
                  <a:gd name="T4" fmla="*/ 0 w 484"/>
                  <a:gd name="T5" fmla="*/ 2 h 172"/>
                  <a:gd name="T6" fmla="*/ 0 w 484"/>
                  <a:gd name="T7" fmla="*/ 2 h 172"/>
                  <a:gd name="T8" fmla="*/ 0 w 484"/>
                  <a:gd name="T9" fmla="*/ 2 h 172"/>
                  <a:gd name="T10" fmla="*/ 1 w 484"/>
                  <a:gd name="T11" fmla="*/ 2 h 172"/>
                  <a:gd name="T12" fmla="*/ 1 w 484"/>
                  <a:gd name="T13" fmla="*/ 2 h 172"/>
                  <a:gd name="T14" fmla="*/ 1 w 484"/>
                  <a:gd name="T15" fmla="*/ 2 h 172"/>
                  <a:gd name="T16" fmla="*/ 2 w 484"/>
                  <a:gd name="T17" fmla="*/ 2 h 172"/>
                  <a:gd name="T18" fmla="*/ 2 w 484"/>
                  <a:gd name="T19" fmla="*/ 2 h 172"/>
                  <a:gd name="T20" fmla="*/ 3 w 484"/>
                  <a:gd name="T21" fmla="*/ 1 h 172"/>
                  <a:gd name="T22" fmla="*/ 3 w 484"/>
                  <a:gd name="T23" fmla="*/ 1 h 172"/>
                  <a:gd name="T24" fmla="*/ 4 w 484"/>
                  <a:gd name="T25" fmla="*/ 1 h 172"/>
                  <a:gd name="T26" fmla="*/ 5 w 484"/>
                  <a:gd name="T27" fmla="*/ 1 h 172"/>
                  <a:gd name="T28" fmla="*/ 5 w 484"/>
                  <a:gd name="T29" fmla="*/ 1 h 172"/>
                  <a:gd name="T30" fmla="*/ 5 w 484"/>
                  <a:gd name="T31" fmla="*/ 1 h 172"/>
                  <a:gd name="T32" fmla="*/ 5 w 484"/>
                  <a:gd name="T33" fmla="*/ 1 h 172"/>
                  <a:gd name="T34" fmla="*/ 6 w 484"/>
                  <a:gd name="T35" fmla="*/ 0 h 172"/>
                  <a:gd name="T36" fmla="*/ 5 w 484"/>
                  <a:gd name="T37" fmla="*/ 0 h 172"/>
                  <a:gd name="T38" fmla="*/ 4 w 484"/>
                  <a:gd name="T39" fmla="*/ 0 h 172"/>
                  <a:gd name="T40" fmla="*/ 4 w 484"/>
                  <a:gd name="T41" fmla="*/ 0 h 172"/>
                  <a:gd name="T42" fmla="*/ 3 w 484"/>
                  <a:gd name="T43" fmla="*/ 0 h 172"/>
                  <a:gd name="T44" fmla="*/ 3 w 484"/>
                  <a:gd name="T45" fmla="*/ 0 h 172"/>
                  <a:gd name="T46" fmla="*/ 2 w 484"/>
                  <a:gd name="T47" fmla="*/ 0 h 172"/>
                  <a:gd name="T48" fmla="*/ 2 w 484"/>
                  <a:gd name="T49" fmla="*/ 0 h 172"/>
                  <a:gd name="T50" fmla="*/ 2 w 484"/>
                  <a:gd name="T51" fmla="*/ 0 h 172"/>
                  <a:gd name="T52" fmla="*/ 2 w 484"/>
                  <a:gd name="T53" fmla="*/ 0 h 172"/>
                  <a:gd name="T54" fmla="*/ 2 w 484"/>
                  <a:gd name="T55" fmla="*/ 0 h 172"/>
                  <a:gd name="T56" fmla="*/ 2 w 484"/>
                  <a:gd name="T57" fmla="*/ 0 h 172"/>
                  <a:gd name="T58" fmla="*/ 2 w 484"/>
                  <a:gd name="T59" fmla="*/ 0 h 172"/>
                  <a:gd name="T60" fmla="*/ 2 w 484"/>
                  <a:gd name="T61" fmla="*/ 1 h 172"/>
                  <a:gd name="T62" fmla="*/ 1 w 484"/>
                  <a:gd name="T63" fmla="*/ 1 h 172"/>
                  <a:gd name="T64" fmla="*/ 1 w 484"/>
                  <a:gd name="T65" fmla="*/ 1 h 172"/>
                  <a:gd name="T66" fmla="*/ 1 w 484"/>
                  <a:gd name="T67" fmla="*/ 1 h 172"/>
                  <a:gd name="T68" fmla="*/ 0 w 484"/>
                  <a:gd name="T69" fmla="*/ 1 h 172"/>
                  <a:gd name="T70" fmla="*/ 0 w 484"/>
                  <a:gd name="T71" fmla="*/ 1 h 172"/>
                  <a:gd name="T72" fmla="*/ 0 w 484"/>
                  <a:gd name="T73" fmla="*/ 1 h 172"/>
                  <a:gd name="T74" fmla="*/ 0 w 484"/>
                  <a:gd name="T75" fmla="*/ 1 h 172"/>
                  <a:gd name="T76" fmla="*/ 0 w 484"/>
                  <a:gd name="T77" fmla="*/ 2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4 w 684"/>
                  <a:gd name="T1" fmla="*/ 0 h 240"/>
                  <a:gd name="T2" fmla="*/ 3 w 684"/>
                  <a:gd name="T3" fmla="*/ 0 h 240"/>
                  <a:gd name="T4" fmla="*/ 3 w 684"/>
                  <a:gd name="T5" fmla="*/ 0 h 240"/>
                  <a:gd name="T6" fmla="*/ 3 w 684"/>
                  <a:gd name="T7" fmla="*/ 1 h 240"/>
                  <a:gd name="T8" fmla="*/ 4 w 684"/>
                  <a:gd name="T9" fmla="*/ 0 h 240"/>
                  <a:gd name="T10" fmla="*/ 4 w 684"/>
                  <a:gd name="T11" fmla="*/ 0 h 240"/>
                  <a:gd name="T12" fmla="*/ 4 w 684"/>
                  <a:gd name="T13" fmla="*/ 0 h 240"/>
                  <a:gd name="T14" fmla="*/ 4 w 684"/>
                  <a:gd name="T15" fmla="*/ 1 h 240"/>
                  <a:gd name="T16" fmla="*/ 5 w 684"/>
                  <a:gd name="T17" fmla="*/ 1 h 240"/>
                  <a:gd name="T18" fmla="*/ 5 w 684"/>
                  <a:gd name="T19" fmla="*/ 1 h 240"/>
                  <a:gd name="T20" fmla="*/ 5 w 684"/>
                  <a:gd name="T21" fmla="*/ 1 h 240"/>
                  <a:gd name="T22" fmla="*/ 6 w 684"/>
                  <a:gd name="T23" fmla="*/ 1 h 240"/>
                  <a:gd name="T24" fmla="*/ 6 w 684"/>
                  <a:gd name="T25" fmla="*/ 1 h 240"/>
                  <a:gd name="T26" fmla="*/ 6 w 684"/>
                  <a:gd name="T27" fmla="*/ 0 h 240"/>
                  <a:gd name="T28" fmla="*/ 6 w 684"/>
                  <a:gd name="T29" fmla="*/ 0 h 240"/>
                  <a:gd name="T30" fmla="*/ 6 w 684"/>
                  <a:gd name="T31" fmla="*/ 0 h 240"/>
                  <a:gd name="T32" fmla="*/ 7 w 684"/>
                  <a:gd name="T33" fmla="*/ 0 h 240"/>
                  <a:gd name="T34" fmla="*/ 7 w 684"/>
                  <a:gd name="T35" fmla="*/ 0 h 240"/>
                  <a:gd name="T36" fmla="*/ 7 w 684"/>
                  <a:gd name="T37" fmla="*/ 0 h 240"/>
                  <a:gd name="T38" fmla="*/ 7 w 684"/>
                  <a:gd name="T39" fmla="*/ 1 h 240"/>
                  <a:gd name="T40" fmla="*/ 7 w 684"/>
                  <a:gd name="T41" fmla="*/ 1 h 240"/>
                  <a:gd name="T42" fmla="*/ 7 w 684"/>
                  <a:gd name="T43" fmla="*/ 1 h 240"/>
                  <a:gd name="T44" fmla="*/ 7 w 684"/>
                  <a:gd name="T45" fmla="*/ 2 h 240"/>
                  <a:gd name="T46" fmla="*/ 7 w 684"/>
                  <a:gd name="T47" fmla="*/ 2 h 240"/>
                  <a:gd name="T48" fmla="*/ 7 w 684"/>
                  <a:gd name="T49" fmla="*/ 2 h 240"/>
                  <a:gd name="T50" fmla="*/ 7 w 684"/>
                  <a:gd name="T51" fmla="*/ 2 h 240"/>
                  <a:gd name="T52" fmla="*/ 6 w 684"/>
                  <a:gd name="T53" fmla="*/ 2 h 240"/>
                  <a:gd name="T54" fmla="*/ 6 w 684"/>
                  <a:gd name="T55" fmla="*/ 2 h 240"/>
                  <a:gd name="T56" fmla="*/ 6 w 684"/>
                  <a:gd name="T57" fmla="*/ 2 h 240"/>
                  <a:gd name="T58" fmla="*/ 6 w 684"/>
                  <a:gd name="T59" fmla="*/ 2 h 240"/>
                  <a:gd name="T60" fmla="*/ 6 w 684"/>
                  <a:gd name="T61" fmla="*/ 3 h 240"/>
                  <a:gd name="T62" fmla="*/ 5 w 684"/>
                  <a:gd name="T63" fmla="*/ 3 h 240"/>
                  <a:gd name="T64" fmla="*/ 5 w 684"/>
                  <a:gd name="T65" fmla="*/ 2 h 240"/>
                  <a:gd name="T66" fmla="*/ 5 w 684"/>
                  <a:gd name="T67" fmla="*/ 2 h 240"/>
                  <a:gd name="T68" fmla="*/ 4 w 684"/>
                  <a:gd name="T69" fmla="*/ 3 h 240"/>
                  <a:gd name="T70" fmla="*/ 3 w 684"/>
                  <a:gd name="T71" fmla="*/ 3 h 240"/>
                  <a:gd name="T72" fmla="*/ 2 w 684"/>
                  <a:gd name="T73" fmla="*/ 3 h 240"/>
                  <a:gd name="T74" fmla="*/ 1 w 684"/>
                  <a:gd name="T75" fmla="*/ 3 h 240"/>
                  <a:gd name="T76" fmla="*/ 1 w 684"/>
                  <a:gd name="T77" fmla="*/ 3 h 240"/>
                  <a:gd name="T78" fmla="*/ 1 w 684"/>
                  <a:gd name="T79" fmla="*/ 2 h 240"/>
                  <a:gd name="T80" fmla="*/ 0 w 684"/>
                  <a:gd name="T81" fmla="*/ 2 h 240"/>
                  <a:gd name="T82" fmla="*/ 0 w 684"/>
                  <a:gd name="T83" fmla="*/ 2 h 240"/>
                  <a:gd name="T84" fmla="*/ 1 w 684"/>
                  <a:gd name="T85" fmla="*/ 2 h 240"/>
                  <a:gd name="T86" fmla="*/ 1 w 684"/>
                  <a:gd name="T87" fmla="*/ 2 h 240"/>
                  <a:gd name="T88" fmla="*/ 2 w 684"/>
                  <a:gd name="T89" fmla="*/ 2 h 240"/>
                  <a:gd name="T90" fmla="*/ 2 w 684"/>
                  <a:gd name="T91" fmla="*/ 2 h 240"/>
                  <a:gd name="T92" fmla="*/ 2 w 684"/>
                  <a:gd name="T93" fmla="*/ 2 h 240"/>
                  <a:gd name="T94" fmla="*/ 0 w 684"/>
                  <a:gd name="T95" fmla="*/ 2 h 240"/>
                  <a:gd name="T96" fmla="*/ 1 w 684"/>
                  <a:gd name="T97" fmla="*/ 2 h 240"/>
                  <a:gd name="T98" fmla="*/ 1 w 684"/>
                  <a:gd name="T99" fmla="*/ 1 h 240"/>
                  <a:gd name="T100" fmla="*/ 2 w 684"/>
                  <a:gd name="T101" fmla="*/ 1 h 240"/>
                  <a:gd name="T102" fmla="*/ 2 w 684"/>
                  <a:gd name="T103" fmla="*/ 1 h 240"/>
                  <a:gd name="T104" fmla="*/ 2 w 684"/>
                  <a:gd name="T105" fmla="*/ 1 h 240"/>
                  <a:gd name="T106" fmla="*/ 1 w 684"/>
                  <a:gd name="T107" fmla="*/ 1 h 240"/>
                  <a:gd name="T108" fmla="*/ 1 w 684"/>
                  <a:gd name="T109" fmla="*/ 1 h 240"/>
                  <a:gd name="T110" fmla="*/ 1 w 684"/>
                  <a:gd name="T111" fmla="*/ 1 h 240"/>
                  <a:gd name="T112" fmla="*/ 1 w 684"/>
                  <a:gd name="T113" fmla="*/ 1 h 240"/>
                  <a:gd name="T114" fmla="*/ 1 w 684"/>
                  <a:gd name="T115" fmla="*/ 1 h 240"/>
                  <a:gd name="T116" fmla="*/ 1 w 684"/>
                  <a:gd name="T117" fmla="*/ 1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2 w 332"/>
                  <a:gd name="T1" fmla="*/ 0 h 287"/>
                  <a:gd name="T2" fmla="*/ 2 w 332"/>
                  <a:gd name="T3" fmla="*/ 0 h 287"/>
                  <a:gd name="T4" fmla="*/ 3 w 332"/>
                  <a:gd name="T5" fmla="*/ 0 h 287"/>
                  <a:gd name="T6" fmla="*/ 3 w 332"/>
                  <a:gd name="T7" fmla="*/ 0 h 287"/>
                  <a:gd name="T8" fmla="*/ 3 w 332"/>
                  <a:gd name="T9" fmla="*/ 0 h 287"/>
                  <a:gd name="T10" fmla="*/ 3 w 332"/>
                  <a:gd name="T11" fmla="*/ 0 h 287"/>
                  <a:gd name="T12" fmla="*/ 3 w 332"/>
                  <a:gd name="T13" fmla="*/ 0 h 287"/>
                  <a:gd name="T14" fmla="*/ 2 w 332"/>
                  <a:gd name="T15" fmla="*/ 1 h 287"/>
                  <a:gd name="T16" fmla="*/ 2 w 332"/>
                  <a:gd name="T17" fmla="*/ 1 h 287"/>
                  <a:gd name="T18" fmla="*/ 2 w 332"/>
                  <a:gd name="T19" fmla="*/ 1 h 287"/>
                  <a:gd name="T20" fmla="*/ 2 w 332"/>
                  <a:gd name="T21" fmla="*/ 1 h 287"/>
                  <a:gd name="T22" fmla="*/ 2 w 332"/>
                  <a:gd name="T23" fmla="*/ 1 h 287"/>
                  <a:gd name="T24" fmla="*/ 2 w 332"/>
                  <a:gd name="T25" fmla="*/ 1 h 287"/>
                  <a:gd name="T26" fmla="*/ 3 w 332"/>
                  <a:gd name="T27" fmla="*/ 1 h 287"/>
                  <a:gd name="T28" fmla="*/ 2 w 332"/>
                  <a:gd name="T29" fmla="*/ 1 h 287"/>
                  <a:gd name="T30" fmla="*/ 2 w 332"/>
                  <a:gd name="T31" fmla="*/ 1 h 287"/>
                  <a:gd name="T32" fmla="*/ 2 w 332"/>
                  <a:gd name="T33" fmla="*/ 1 h 287"/>
                  <a:gd name="T34" fmla="*/ 3 w 332"/>
                  <a:gd name="T35" fmla="*/ 1 h 287"/>
                  <a:gd name="T36" fmla="*/ 4 w 332"/>
                  <a:gd name="T37" fmla="*/ 1 h 287"/>
                  <a:gd name="T38" fmla="*/ 4 w 332"/>
                  <a:gd name="T39" fmla="*/ 2 h 287"/>
                  <a:gd name="T40" fmla="*/ 4 w 332"/>
                  <a:gd name="T41" fmla="*/ 2 h 287"/>
                  <a:gd name="T42" fmla="*/ 3 w 332"/>
                  <a:gd name="T43" fmla="*/ 2 h 287"/>
                  <a:gd name="T44" fmla="*/ 3 w 332"/>
                  <a:gd name="T45" fmla="*/ 2 h 287"/>
                  <a:gd name="T46" fmla="*/ 3 w 332"/>
                  <a:gd name="T47" fmla="*/ 2 h 287"/>
                  <a:gd name="T48" fmla="*/ 4 w 332"/>
                  <a:gd name="T49" fmla="*/ 2 h 287"/>
                  <a:gd name="T50" fmla="*/ 4 w 332"/>
                  <a:gd name="T51" fmla="*/ 2 h 287"/>
                  <a:gd name="T52" fmla="*/ 4 w 332"/>
                  <a:gd name="T53" fmla="*/ 2 h 287"/>
                  <a:gd name="T54" fmla="*/ 3 w 332"/>
                  <a:gd name="T55" fmla="*/ 2 h 287"/>
                  <a:gd name="T56" fmla="*/ 3 w 332"/>
                  <a:gd name="T57" fmla="*/ 3 h 287"/>
                  <a:gd name="T58" fmla="*/ 2 w 332"/>
                  <a:gd name="T59" fmla="*/ 3 h 287"/>
                  <a:gd name="T60" fmla="*/ 2 w 332"/>
                  <a:gd name="T61" fmla="*/ 3 h 287"/>
                  <a:gd name="T62" fmla="*/ 2 w 332"/>
                  <a:gd name="T63" fmla="*/ 3 h 287"/>
                  <a:gd name="T64" fmla="*/ 2 w 332"/>
                  <a:gd name="T65" fmla="*/ 3 h 287"/>
                  <a:gd name="T66" fmla="*/ 2 w 332"/>
                  <a:gd name="T67" fmla="*/ 3 h 287"/>
                  <a:gd name="T68" fmla="*/ 2 w 332"/>
                  <a:gd name="T69" fmla="*/ 3 h 287"/>
                  <a:gd name="T70" fmla="*/ 1 w 332"/>
                  <a:gd name="T71" fmla="*/ 3 h 287"/>
                  <a:gd name="T72" fmla="*/ 1 w 332"/>
                  <a:gd name="T73" fmla="*/ 3 h 287"/>
                  <a:gd name="T74" fmla="*/ 0 w 332"/>
                  <a:gd name="T75" fmla="*/ 3 h 287"/>
                  <a:gd name="T76" fmla="*/ 0 w 332"/>
                  <a:gd name="T77" fmla="*/ 3 h 287"/>
                  <a:gd name="T78" fmla="*/ 0 w 332"/>
                  <a:gd name="T79" fmla="*/ 2 h 287"/>
                  <a:gd name="T80" fmla="*/ 0 w 332"/>
                  <a:gd name="T81" fmla="*/ 2 h 287"/>
                  <a:gd name="T82" fmla="*/ 0 w 332"/>
                  <a:gd name="T83" fmla="*/ 2 h 287"/>
                  <a:gd name="T84" fmla="*/ 0 w 332"/>
                  <a:gd name="T85" fmla="*/ 2 h 287"/>
                  <a:gd name="T86" fmla="*/ 0 w 332"/>
                  <a:gd name="T87" fmla="*/ 2 h 287"/>
                  <a:gd name="T88" fmla="*/ 1 w 332"/>
                  <a:gd name="T89" fmla="*/ 2 h 287"/>
                  <a:gd name="T90" fmla="*/ 1 w 332"/>
                  <a:gd name="T91" fmla="*/ 2 h 287"/>
                  <a:gd name="T92" fmla="*/ 1 w 332"/>
                  <a:gd name="T93" fmla="*/ 2 h 287"/>
                  <a:gd name="T94" fmla="*/ 1 w 332"/>
                  <a:gd name="T95" fmla="*/ 2 h 287"/>
                  <a:gd name="T96" fmla="*/ 1 w 332"/>
                  <a:gd name="T97" fmla="*/ 1 h 287"/>
                  <a:gd name="T98" fmla="*/ 2 w 332"/>
                  <a:gd name="T99" fmla="*/ 1 h 287"/>
                  <a:gd name="T100" fmla="*/ 2 w 332"/>
                  <a:gd name="T101" fmla="*/ 1 h 287"/>
                  <a:gd name="T102" fmla="*/ 2 w 332"/>
                  <a:gd name="T103" fmla="*/ 1 h 287"/>
                  <a:gd name="T104" fmla="*/ 2 w 332"/>
                  <a:gd name="T105" fmla="*/ 1 h 287"/>
                  <a:gd name="T106" fmla="*/ 2 w 332"/>
                  <a:gd name="T107" fmla="*/ 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2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 w 345"/>
                  <a:gd name="T1" fmla="*/ 1 h 86"/>
                  <a:gd name="T2" fmla="*/ 1 w 345"/>
                  <a:gd name="T3" fmla="*/ 1 h 86"/>
                  <a:gd name="T4" fmla="*/ 2 w 345"/>
                  <a:gd name="T5" fmla="*/ 1 h 86"/>
                  <a:gd name="T6" fmla="*/ 2 w 345"/>
                  <a:gd name="T7" fmla="*/ 1 h 86"/>
                  <a:gd name="T8" fmla="*/ 2 w 345"/>
                  <a:gd name="T9" fmla="*/ 1 h 86"/>
                  <a:gd name="T10" fmla="*/ 2 w 345"/>
                  <a:gd name="T11" fmla="*/ 1 h 86"/>
                  <a:gd name="T12" fmla="*/ 3 w 345"/>
                  <a:gd name="T13" fmla="*/ 1 h 86"/>
                  <a:gd name="T14" fmla="*/ 3 w 345"/>
                  <a:gd name="T15" fmla="*/ 1 h 86"/>
                  <a:gd name="T16" fmla="*/ 3 w 345"/>
                  <a:gd name="T17" fmla="*/ 1 h 86"/>
                  <a:gd name="T18" fmla="*/ 3 w 345"/>
                  <a:gd name="T19" fmla="*/ 0 h 86"/>
                  <a:gd name="T20" fmla="*/ 3 w 345"/>
                  <a:gd name="T21" fmla="*/ 0 h 86"/>
                  <a:gd name="T22" fmla="*/ 3 w 345"/>
                  <a:gd name="T23" fmla="*/ 0 h 86"/>
                  <a:gd name="T24" fmla="*/ 4 w 345"/>
                  <a:gd name="T25" fmla="*/ 0 h 86"/>
                  <a:gd name="T26" fmla="*/ 4 w 345"/>
                  <a:gd name="T27" fmla="*/ 0 h 86"/>
                  <a:gd name="T28" fmla="*/ 4 w 345"/>
                  <a:gd name="T29" fmla="*/ 0 h 86"/>
                  <a:gd name="T30" fmla="*/ 4 w 345"/>
                  <a:gd name="T31" fmla="*/ 0 h 86"/>
                  <a:gd name="T32" fmla="*/ 4 w 345"/>
                  <a:gd name="T33" fmla="*/ 0 h 86"/>
                  <a:gd name="T34" fmla="*/ 4 w 345"/>
                  <a:gd name="T35" fmla="*/ 0 h 86"/>
                  <a:gd name="T36" fmla="*/ 3 w 345"/>
                  <a:gd name="T37" fmla="*/ 0 h 86"/>
                  <a:gd name="T38" fmla="*/ 3 w 345"/>
                  <a:gd name="T39" fmla="*/ 0 h 86"/>
                  <a:gd name="T40" fmla="*/ 3 w 345"/>
                  <a:gd name="T41" fmla="*/ 0 h 86"/>
                  <a:gd name="T42" fmla="*/ 3 w 345"/>
                  <a:gd name="T43" fmla="*/ 0 h 86"/>
                  <a:gd name="T44" fmla="*/ 3 w 345"/>
                  <a:gd name="T45" fmla="*/ 0 h 86"/>
                  <a:gd name="T46" fmla="*/ 3 w 345"/>
                  <a:gd name="T47" fmla="*/ 0 h 86"/>
                  <a:gd name="T48" fmla="*/ 3 w 345"/>
                  <a:gd name="T49" fmla="*/ 0 h 86"/>
                  <a:gd name="T50" fmla="*/ 2 w 345"/>
                  <a:gd name="T51" fmla="*/ 0 h 86"/>
                  <a:gd name="T52" fmla="*/ 2 w 345"/>
                  <a:gd name="T53" fmla="*/ 0 h 86"/>
                  <a:gd name="T54" fmla="*/ 2 w 345"/>
                  <a:gd name="T55" fmla="*/ 0 h 86"/>
                  <a:gd name="T56" fmla="*/ 1 w 345"/>
                  <a:gd name="T57" fmla="*/ 0 h 86"/>
                  <a:gd name="T58" fmla="*/ 1 w 345"/>
                  <a:gd name="T59" fmla="*/ 0 h 86"/>
                  <a:gd name="T60" fmla="*/ 1 w 345"/>
                  <a:gd name="T61" fmla="*/ 0 h 86"/>
                  <a:gd name="T62" fmla="*/ 1 w 345"/>
                  <a:gd name="T63" fmla="*/ 1 h 86"/>
                  <a:gd name="T64" fmla="*/ 1 w 345"/>
                  <a:gd name="T65" fmla="*/ 1 h 86"/>
                  <a:gd name="T66" fmla="*/ 0 w 345"/>
                  <a:gd name="T67" fmla="*/ 1 h 86"/>
                  <a:gd name="T68" fmla="*/ 0 w 345"/>
                  <a:gd name="T69" fmla="*/ 1 h 86"/>
                  <a:gd name="T70" fmla="*/ 0 w 345"/>
                  <a:gd name="T71" fmla="*/ 1 h 86"/>
                  <a:gd name="T72" fmla="*/ 0 w 345"/>
                  <a:gd name="T73" fmla="*/ 1 h 86"/>
                  <a:gd name="T74" fmla="*/ 1 w 345"/>
                  <a:gd name="T75" fmla="*/ 1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3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0 w 464"/>
                  <a:gd name="T1" fmla="*/ 1 h 130"/>
                  <a:gd name="T2" fmla="*/ 1 w 464"/>
                  <a:gd name="T3" fmla="*/ 1 h 130"/>
                  <a:gd name="T4" fmla="*/ 1 w 464"/>
                  <a:gd name="T5" fmla="*/ 1 h 130"/>
                  <a:gd name="T6" fmla="*/ 1 w 464"/>
                  <a:gd name="T7" fmla="*/ 1 h 130"/>
                  <a:gd name="T8" fmla="*/ 1 w 464"/>
                  <a:gd name="T9" fmla="*/ 1 h 130"/>
                  <a:gd name="T10" fmla="*/ 1 w 464"/>
                  <a:gd name="T11" fmla="*/ 1 h 130"/>
                  <a:gd name="T12" fmla="*/ 1 w 464"/>
                  <a:gd name="T13" fmla="*/ 1 h 130"/>
                  <a:gd name="T14" fmla="*/ 1 w 464"/>
                  <a:gd name="T15" fmla="*/ 2 h 130"/>
                  <a:gd name="T16" fmla="*/ 1 w 464"/>
                  <a:gd name="T17" fmla="*/ 2 h 130"/>
                  <a:gd name="T18" fmla="*/ 1 w 464"/>
                  <a:gd name="T19" fmla="*/ 2 h 130"/>
                  <a:gd name="T20" fmla="*/ 1 w 464"/>
                  <a:gd name="T21" fmla="*/ 2 h 130"/>
                  <a:gd name="T22" fmla="*/ 2 w 464"/>
                  <a:gd name="T23" fmla="*/ 1 h 130"/>
                  <a:gd name="T24" fmla="*/ 2 w 464"/>
                  <a:gd name="T25" fmla="*/ 1 h 130"/>
                  <a:gd name="T26" fmla="*/ 2 w 464"/>
                  <a:gd name="T27" fmla="*/ 1 h 130"/>
                  <a:gd name="T28" fmla="*/ 3 w 464"/>
                  <a:gd name="T29" fmla="*/ 1 h 130"/>
                  <a:gd name="T30" fmla="*/ 3 w 464"/>
                  <a:gd name="T31" fmla="*/ 1 h 130"/>
                  <a:gd name="T32" fmla="*/ 3 w 464"/>
                  <a:gd name="T33" fmla="*/ 1 h 130"/>
                  <a:gd name="T34" fmla="*/ 4 w 464"/>
                  <a:gd name="T35" fmla="*/ 1 h 130"/>
                  <a:gd name="T36" fmla="*/ 4 w 464"/>
                  <a:gd name="T37" fmla="*/ 1 h 130"/>
                  <a:gd name="T38" fmla="*/ 4 w 464"/>
                  <a:gd name="T39" fmla="*/ 1 h 130"/>
                  <a:gd name="T40" fmla="*/ 5 w 464"/>
                  <a:gd name="T41" fmla="*/ 1 h 130"/>
                  <a:gd name="T42" fmla="*/ 5 w 464"/>
                  <a:gd name="T43" fmla="*/ 1 h 130"/>
                  <a:gd name="T44" fmla="*/ 4 w 464"/>
                  <a:gd name="T45" fmla="*/ 1 h 130"/>
                  <a:gd name="T46" fmla="*/ 4 w 464"/>
                  <a:gd name="T47" fmla="*/ 1 h 130"/>
                  <a:gd name="T48" fmla="*/ 4 w 464"/>
                  <a:gd name="T49" fmla="*/ 1 h 130"/>
                  <a:gd name="T50" fmla="*/ 4 w 464"/>
                  <a:gd name="T51" fmla="*/ 0 h 130"/>
                  <a:gd name="T52" fmla="*/ 4 w 464"/>
                  <a:gd name="T53" fmla="*/ 0 h 130"/>
                  <a:gd name="T54" fmla="*/ 4 w 464"/>
                  <a:gd name="T55" fmla="*/ 0 h 130"/>
                  <a:gd name="T56" fmla="*/ 4 w 464"/>
                  <a:gd name="T57" fmla="*/ 0 h 130"/>
                  <a:gd name="T58" fmla="*/ 4 w 464"/>
                  <a:gd name="T59" fmla="*/ 0 h 130"/>
                  <a:gd name="T60" fmla="*/ 4 w 464"/>
                  <a:gd name="T61" fmla="*/ 1 h 130"/>
                  <a:gd name="T62" fmla="*/ 4 w 464"/>
                  <a:gd name="T63" fmla="*/ 1 h 130"/>
                  <a:gd name="T64" fmla="*/ 3 w 464"/>
                  <a:gd name="T65" fmla="*/ 1 h 130"/>
                  <a:gd name="T66" fmla="*/ 3 w 464"/>
                  <a:gd name="T67" fmla="*/ 1 h 130"/>
                  <a:gd name="T68" fmla="*/ 3 w 464"/>
                  <a:gd name="T69" fmla="*/ 1 h 130"/>
                  <a:gd name="T70" fmla="*/ 3 w 464"/>
                  <a:gd name="T71" fmla="*/ 1 h 130"/>
                  <a:gd name="T72" fmla="*/ 3 w 464"/>
                  <a:gd name="T73" fmla="*/ 1 h 130"/>
                  <a:gd name="T74" fmla="*/ 2 w 464"/>
                  <a:gd name="T75" fmla="*/ 0 h 130"/>
                  <a:gd name="T76" fmla="*/ 2 w 464"/>
                  <a:gd name="T77" fmla="*/ 0 h 130"/>
                  <a:gd name="T78" fmla="*/ 2 w 464"/>
                  <a:gd name="T79" fmla="*/ 0 h 130"/>
                  <a:gd name="T80" fmla="*/ 1 w 464"/>
                  <a:gd name="T81" fmla="*/ 0 h 130"/>
                  <a:gd name="T82" fmla="*/ 1 w 464"/>
                  <a:gd name="T83" fmla="*/ 1 h 130"/>
                  <a:gd name="T84" fmla="*/ 1 w 464"/>
                  <a:gd name="T85" fmla="*/ 1 h 130"/>
                  <a:gd name="T86" fmla="*/ 0 w 464"/>
                  <a:gd name="T87" fmla="*/ 1 h 130"/>
                  <a:gd name="T88" fmla="*/ 0 w 464"/>
                  <a:gd name="T89" fmla="*/ 1 h 130"/>
                  <a:gd name="T90" fmla="*/ 0 w 464"/>
                  <a:gd name="T91" fmla="*/ 1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3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1 w 472"/>
                  <a:gd name="T1" fmla="*/ 0 h 92"/>
                  <a:gd name="T2" fmla="*/ 1 w 472"/>
                  <a:gd name="T3" fmla="*/ 0 h 92"/>
                  <a:gd name="T4" fmla="*/ 0 w 472"/>
                  <a:gd name="T5" fmla="*/ 0 h 92"/>
                  <a:gd name="T6" fmla="*/ 0 w 472"/>
                  <a:gd name="T7" fmla="*/ 0 h 92"/>
                  <a:gd name="T8" fmla="*/ 0 w 472"/>
                  <a:gd name="T9" fmla="*/ 0 h 92"/>
                  <a:gd name="T10" fmla="*/ 0 w 472"/>
                  <a:gd name="T11" fmla="*/ 0 h 92"/>
                  <a:gd name="T12" fmla="*/ 0 w 472"/>
                  <a:gd name="T13" fmla="*/ 0 h 92"/>
                  <a:gd name="T14" fmla="*/ 0 w 472"/>
                  <a:gd name="T15" fmla="*/ 0 h 92"/>
                  <a:gd name="T16" fmla="*/ 0 w 472"/>
                  <a:gd name="T17" fmla="*/ 1 h 92"/>
                  <a:gd name="T18" fmla="*/ 0 w 472"/>
                  <a:gd name="T19" fmla="*/ 1 h 92"/>
                  <a:gd name="T20" fmla="*/ 0 w 472"/>
                  <a:gd name="T21" fmla="*/ 1 h 92"/>
                  <a:gd name="T22" fmla="*/ 0 w 472"/>
                  <a:gd name="T23" fmla="*/ 1 h 92"/>
                  <a:gd name="T24" fmla="*/ 0 w 472"/>
                  <a:gd name="T25" fmla="*/ 1 h 92"/>
                  <a:gd name="T26" fmla="*/ 1 w 472"/>
                  <a:gd name="T27" fmla="*/ 1 h 92"/>
                  <a:gd name="T28" fmla="*/ 1 w 472"/>
                  <a:gd name="T29" fmla="*/ 1 h 92"/>
                  <a:gd name="T30" fmla="*/ 2 w 472"/>
                  <a:gd name="T31" fmla="*/ 1 h 92"/>
                  <a:gd name="T32" fmla="*/ 4 w 472"/>
                  <a:gd name="T33" fmla="*/ 1 h 92"/>
                  <a:gd name="T34" fmla="*/ 4 w 472"/>
                  <a:gd name="T35" fmla="*/ 1 h 92"/>
                  <a:gd name="T36" fmla="*/ 4 w 472"/>
                  <a:gd name="T37" fmla="*/ 1 h 92"/>
                  <a:gd name="T38" fmla="*/ 5 w 472"/>
                  <a:gd name="T39" fmla="*/ 1 h 92"/>
                  <a:gd name="T40" fmla="*/ 5 w 472"/>
                  <a:gd name="T41" fmla="*/ 1 h 92"/>
                  <a:gd name="T42" fmla="*/ 5 w 472"/>
                  <a:gd name="T43" fmla="*/ 1 h 92"/>
                  <a:gd name="T44" fmla="*/ 5 w 472"/>
                  <a:gd name="T45" fmla="*/ 1 h 92"/>
                  <a:gd name="T46" fmla="*/ 5 w 472"/>
                  <a:gd name="T47" fmla="*/ 1 h 92"/>
                  <a:gd name="T48" fmla="*/ 5 w 472"/>
                  <a:gd name="T49" fmla="*/ 0 h 92"/>
                  <a:gd name="T50" fmla="*/ 5 w 472"/>
                  <a:gd name="T51" fmla="*/ 0 h 92"/>
                  <a:gd name="T52" fmla="*/ 5 w 472"/>
                  <a:gd name="T53" fmla="*/ 0 h 92"/>
                  <a:gd name="T54" fmla="*/ 5 w 472"/>
                  <a:gd name="T55" fmla="*/ 0 h 92"/>
                  <a:gd name="T56" fmla="*/ 5 w 472"/>
                  <a:gd name="T57" fmla="*/ 0 h 92"/>
                  <a:gd name="T58" fmla="*/ 4 w 472"/>
                  <a:gd name="T59" fmla="*/ 0 h 92"/>
                  <a:gd name="T60" fmla="*/ 4 w 472"/>
                  <a:gd name="T61" fmla="*/ 0 h 92"/>
                  <a:gd name="T62" fmla="*/ 4 w 472"/>
                  <a:gd name="T63" fmla="*/ 0 h 92"/>
                  <a:gd name="T64" fmla="*/ 3 w 472"/>
                  <a:gd name="T65" fmla="*/ 0 h 92"/>
                  <a:gd name="T66" fmla="*/ 3 w 472"/>
                  <a:gd name="T67" fmla="*/ 1 h 92"/>
                  <a:gd name="T68" fmla="*/ 3 w 472"/>
                  <a:gd name="T69" fmla="*/ 1 h 92"/>
                  <a:gd name="T70" fmla="*/ 2 w 472"/>
                  <a:gd name="T71" fmla="*/ 1 h 92"/>
                  <a:gd name="T72" fmla="*/ 2 w 472"/>
                  <a:gd name="T73" fmla="*/ 1 h 92"/>
                  <a:gd name="T74" fmla="*/ 1 w 472"/>
                  <a:gd name="T75" fmla="*/ 1 h 92"/>
                  <a:gd name="T76" fmla="*/ 1 w 472"/>
                  <a:gd name="T77" fmla="*/ 1 h 92"/>
                  <a:gd name="T78" fmla="*/ 1 w 472"/>
                  <a:gd name="T79" fmla="*/ 0 h 92"/>
                  <a:gd name="T80" fmla="*/ 1 w 472"/>
                  <a:gd name="T81" fmla="*/ 0 h 92"/>
                  <a:gd name="T82" fmla="*/ 1 w 472"/>
                  <a:gd name="T83" fmla="*/ 0 h 92"/>
                  <a:gd name="T84" fmla="*/ 1 w 472"/>
                  <a:gd name="T85" fmla="*/ 0 h 92"/>
                  <a:gd name="T86" fmla="*/ 1 w 472"/>
                  <a:gd name="T87" fmla="*/ 0 h 92"/>
                  <a:gd name="T88" fmla="*/ 1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3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2 w 326"/>
                  <a:gd name="T1" fmla="*/ 1 h 135"/>
                  <a:gd name="T2" fmla="*/ 2 w 326"/>
                  <a:gd name="T3" fmla="*/ 1 h 135"/>
                  <a:gd name="T4" fmla="*/ 3 w 326"/>
                  <a:gd name="T5" fmla="*/ 1 h 135"/>
                  <a:gd name="T6" fmla="*/ 3 w 326"/>
                  <a:gd name="T7" fmla="*/ 1 h 135"/>
                  <a:gd name="T8" fmla="*/ 4 w 326"/>
                  <a:gd name="T9" fmla="*/ 1 h 135"/>
                  <a:gd name="T10" fmla="*/ 4 w 326"/>
                  <a:gd name="T11" fmla="*/ 1 h 135"/>
                  <a:gd name="T12" fmla="*/ 4 w 326"/>
                  <a:gd name="T13" fmla="*/ 1 h 135"/>
                  <a:gd name="T14" fmla="*/ 3 w 326"/>
                  <a:gd name="T15" fmla="*/ 1 h 135"/>
                  <a:gd name="T16" fmla="*/ 3 w 326"/>
                  <a:gd name="T17" fmla="*/ 0 h 135"/>
                  <a:gd name="T18" fmla="*/ 3 w 326"/>
                  <a:gd name="T19" fmla="*/ 0 h 135"/>
                  <a:gd name="T20" fmla="*/ 3 w 326"/>
                  <a:gd name="T21" fmla="*/ 0 h 135"/>
                  <a:gd name="T22" fmla="*/ 2 w 326"/>
                  <a:gd name="T23" fmla="*/ 0 h 135"/>
                  <a:gd name="T24" fmla="*/ 2 w 326"/>
                  <a:gd name="T25" fmla="*/ 0 h 135"/>
                  <a:gd name="T26" fmla="*/ 2 w 326"/>
                  <a:gd name="T27" fmla="*/ 0 h 135"/>
                  <a:gd name="T28" fmla="*/ 2 w 326"/>
                  <a:gd name="T29" fmla="*/ 0 h 135"/>
                  <a:gd name="T30" fmla="*/ 2 w 326"/>
                  <a:gd name="T31" fmla="*/ 0 h 135"/>
                  <a:gd name="T32" fmla="*/ 2 w 326"/>
                  <a:gd name="T33" fmla="*/ 0 h 135"/>
                  <a:gd name="T34" fmla="*/ 2 w 326"/>
                  <a:gd name="T35" fmla="*/ 0 h 135"/>
                  <a:gd name="T36" fmla="*/ 1 w 326"/>
                  <a:gd name="T37" fmla="*/ 0 h 135"/>
                  <a:gd name="T38" fmla="*/ 1 w 326"/>
                  <a:gd name="T39" fmla="*/ 0 h 135"/>
                  <a:gd name="T40" fmla="*/ 0 w 326"/>
                  <a:gd name="T41" fmla="*/ 0 h 135"/>
                  <a:gd name="T42" fmla="*/ 0 w 326"/>
                  <a:gd name="T43" fmla="*/ 0 h 135"/>
                  <a:gd name="T44" fmla="*/ 0 w 326"/>
                  <a:gd name="T45" fmla="*/ 1 h 135"/>
                  <a:gd name="T46" fmla="*/ 0 w 326"/>
                  <a:gd name="T47" fmla="*/ 1 h 135"/>
                  <a:gd name="T48" fmla="*/ 0 w 326"/>
                  <a:gd name="T49" fmla="*/ 1 h 135"/>
                  <a:gd name="T50" fmla="*/ 1 w 326"/>
                  <a:gd name="T51" fmla="*/ 1 h 135"/>
                  <a:gd name="T52" fmla="*/ 0 w 326"/>
                  <a:gd name="T53" fmla="*/ 1 h 135"/>
                  <a:gd name="T54" fmla="*/ 0 w 326"/>
                  <a:gd name="T55" fmla="*/ 1 h 135"/>
                  <a:gd name="T56" fmla="*/ 1 w 326"/>
                  <a:gd name="T57" fmla="*/ 1 h 135"/>
                  <a:gd name="T58" fmla="*/ 1 w 326"/>
                  <a:gd name="T59" fmla="*/ 2 h 135"/>
                  <a:gd name="T60" fmla="*/ 1 w 326"/>
                  <a:gd name="T61" fmla="*/ 2 h 135"/>
                  <a:gd name="T62" fmla="*/ 1 w 326"/>
                  <a:gd name="T63" fmla="*/ 2 h 135"/>
                  <a:gd name="T64" fmla="*/ 1 w 326"/>
                  <a:gd name="T65" fmla="*/ 2 h 135"/>
                  <a:gd name="T66" fmla="*/ 1 w 326"/>
                  <a:gd name="T67" fmla="*/ 2 h 135"/>
                  <a:gd name="T68" fmla="*/ 1 w 326"/>
                  <a:gd name="T69" fmla="*/ 2 h 135"/>
                  <a:gd name="T70" fmla="*/ 1 w 326"/>
                  <a:gd name="T71" fmla="*/ 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3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 w 159"/>
                  <a:gd name="T1" fmla="*/ 1 h 56"/>
                  <a:gd name="T2" fmla="*/ 0 w 159"/>
                  <a:gd name="T3" fmla="*/ 1 h 56"/>
                  <a:gd name="T4" fmla="*/ 0 w 159"/>
                  <a:gd name="T5" fmla="*/ 1 h 56"/>
                  <a:gd name="T6" fmla="*/ 0 w 159"/>
                  <a:gd name="T7" fmla="*/ 1 h 56"/>
                  <a:gd name="T8" fmla="*/ 0 w 159"/>
                  <a:gd name="T9" fmla="*/ 0 h 56"/>
                  <a:gd name="T10" fmla="*/ 0 w 159"/>
                  <a:gd name="T11" fmla="*/ 0 h 56"/>
                  <a:gd name="T12" fmla="*/ 0 w 159"/>
                  <a:gd name="T13" fmla="*/ 0 h 56"/>
                  <a:gd name="T14" fmla="*/ 0 w 159"/>
                  <a:gd name="T15" fmla="*/ 0 h 56"/>
                  <a:gd name="T16" fmla="*/ 0 w 159"/>
                  <a:gd name="T17" fmla="*/ 0 h 56"/>
                  <a:gd name="T18" fmla="*/ 0 w 159"/>
                  <a:gd name="T19" fmla="*/ 0 h 56"/>
                  <a:gd name="T20" fmla="*/ 0 w 159"/>
                  <a:gd name="T21" fmla="*/ 0 h 56"/>
                  <a:gd name="T22" fmla="*/ 0 w 159"/>
                  <a:gd name="T23" fmla="*/ 0 h 56"/>
                  <a:gd name="T24" fmla="*/ 0 w 159"/>
                  <a:gd name="T25" fmla="*/ 0 h 56"/>
                  <a:gd name="T26" fmla="*/ 1 w 159"/>
                  <a:gd name="T27" fmla="*/ 0 h 56"/>
                  <a:gd name="T28" fmla="*/ 1 w 159"/>
                  <a:gd name="T29" fmla="*/ 0 h 56"/>
                  <a:gd name="T30" fmla="*/ 1 w 159"/>
                  <a:gd name="T31" fmla="*/ 0 h 56"/>
                  <a:gd name="T32" fmla="*/ 1 w 159"/>
                  <a:gd name="T33" fmla="*/ 0 h 56"/>
                  <a:gd name="T34" fmla="*/ 1 w 159"/>
                  <a:gd name="T35" fmla="*/ 0 h 56"/>
                  <a:gd name="T36" fmla="*/ 1 w 159"/>
                  <a:gd name="T37" fmla="*/ 0 h 56"/>
                  <a:gd name="T38" fmla="*/ 1 w 159"/>
                  <a:gd name="T39" fmla="*/ 0 h 56"/>
                  <a:gd name="T40" fmla="*/ 2 w 159"/>
                  <a:gd name="T41" fmla="*/ 0 h 56"/>
                  <a:gd name="T42" fmla="*/ 2 w 159"/>
                  <a:gd name="T43" fmla="*/ 0 h 56"/>
                  <a:gd name="T44" fmla="*/ 2 w 159"/>
                  <a:gd name="T45" fmla="*/ 0 h 56"/>
                  <a:gd name="T46" fmla="*/ 2 w 159"/>
                  <a:gd name="T47" fmla="*/ 0 h 56"/>
                  <a:gd name="T48" fmla="*/ 2 w 159"/>
                  <a:gd name="T49" fmla="*/ 0 h 56"/>
                  <a:gd name="T50" fmla="*/ 2 w 159"/>
                  <a:gd name="T51" fmla="*/ 0 h 56"/>
                  <a:gd name="T52" fmla="*/ 2 w 159"/>
                  <a:gd name="T53" fmla="*/ 0 h 56"/>
                  <a:gd name="T54" fmla="*/ 2 w 159"/>
                  <a:gd name="T55" fmla="*/ 1 h 56"/>
                  <a:gd name="T56" fmla="*/ 2 w 159"/>
                  <a:gd name="T57" fmla="*/ 1 h 56"/>
                  <a:gd name="T58" fmla="*/ 1 w 159"/>
                  <a:gd name="T59" fmla="*/ 1 h 56"/>
                  <a:gd name="T60" fmla="*/ 1 w 159"/>
                  <a:gd name="T61" fmla="*/ 1 h 56"/>
                  <a:gd name="T62" fmla="*/ 1 w 159"/>
                  <a:gd name="T63" fmla="*/ 1 h 56"/>
                  <a:gd name="T64" fmla="*/ 1 w 159"/>
                  <a:gd name="T65" fmla="*/ 1 h 56"/>
                  <a:gd name="T66" fmla="*/ 1 w 159"/>
                  <a:gd name="T67" fmla="*/ 1 h 56"/>
                  <a:gd name="T68" fmla="*/ 1 w 159"/>
                  <a:gd name="T69" fmla="*/ 1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3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2 w 3734"/>
                  <a:gd name="T1" fmla="*/ 16 h 1644"/>
                  <a:gd name="T2" fmla="*/ 28 w 3734"/>
                  <a:gd name="T3" fmla="*/ 18 h 1644"/>
                  <a:gd name="T4" fmla="*/ 25 w 3734"/>
                  <a:gd name="T5" fmla="*/ 18 h 1644"/>
                  <a:gd name="T6" fmla="*/ 25 w 3734"/>
                  <a:gd name="T7" fmla="*/ 19 h 1644"/>
                  <a:gd name="T8" fmla="*/ 24 w 3734"/>
                  <a:gd name="T9" fmla="*/ 19 h 1644"/>
                  <a:gd name="T10" fmla="*/ 25 w 3734"/>
                  <a:gd name="T11" fmla="*/ 17 h 1644"/>
                  <a:gd name="T12" fmla="*/ 24 w 3734"/>
                  <a:gd name="T13" fmla="*/ 16 h 1644"/>
                  <a:gd name="T14" fmla="*/ 23 w 3734"/>
                  <a:gd name="T15" fmla="*/ 15 h 1644"/>
                  <a:gd name="T16" fmla="*/ 21 w 3734"/>
                  <a:gd name="T17" fmla="*/ 15 h 1644"/>
                  <a:gd name="T18" fmla="*/ 19 w 3734"/>
                  <a:gd name="T19" fmla="*/ 15 h 1644"/>
                  <a:gd name="T20" fmla="*/ 3 w 3734"/>
                  <a:gd name="T21" fmla="*/ 14 h 1644"/>
                  <a:gd name="T22" fmla="*/ 1 w 3734"/>
                  <a:gd name="T23" fmla="*/ 13 h 1644"/>
                  <a:gd name="T24" fmla="*/ 2 w 3734"/>
                  <a:gd name="T25" fmla="*/ 12 h 1644"/>
                  <a:gd name="T26" fmla="*/ 2 w 3734"/>
                  <a:gd name="T27" fmla="*/ 11 h 1644"/>
                  <a:gd name="T28" fmla="*/ 3 w 3734"/>
                  <a:gd name="T29" fmla="*/ 10 h 1644"/>
                  <a:gd name="T30" fmla="*/ 3 w 3734"/>
                  <a:gd name="T31" fmla="*/ 9 h 1644"/>
                  <a:gd name="T32" fmla="*/ 1 w 3734"/>
                  <a:gd name="T33" fmla="*/ 8 h 1644"/>
                  <a:gd name="T34" fmla="*/ 6 w 3734"/>
                  <a:gd name="T35" fmla="*/ 1 h 1644"/>
                  <a:gd name="T36" fmla="*/ 12 w 3734"/>
                  <a:gd name="T37" fmla="*/ 1 h 1644"/>
                  <a:gd name="T38" fmla="*/ 14 w 3734"/>
                  <a:gd name="T39" fmla="*/ 1 h 1644"/>
                  <a:gd name="T40" fmla="*/ 18 w 3734"/>
                  <a:gd name="T41" fmla="*/ 2 h 1644"/>
                  <a:gd name="T42" fmla="*/ 19 w 3734"/>
                  <a:gd name="T43" fmla="*/ 2 h 1644"/>
                  <a:gd name="T44" fmla="*/ 23 w 3734"/>
                  <a:gd name="T45" fmla="*/ 2 h 1644"/>
                  <a:gd name="T46" fmla="*/ 25 w 3734"/>
                  <a:gd name="T47" fmla="*/ 3 h 1644"/>
                  <a:gd name="T48" fmla="*/ 25 w 3734"/>
                  <a:gd name="T49" fmla="*/ 3 h 1644"/>
                  <a:gd name="T50" fmla="*/ 27 w 3734"/>
                  <a:gd name="T51" fmla="*/ 1 h 1644"/>
                  <a:gd name="T52" fmla="*/ 28 w 3734"/>
                  <a:gd name="T53" fmla="*/ 0 h 1644"/>
                  <a:gd name="T54" fmla="*/ 29 w 3734"/>
                  <a:gd name="T55" fmla="*/ 1 h 1644"/>
                  <a:gd name="T56" fmla="*/ 29 w 3734"/>
                  <a:gd name="T57" fmla="*/ 2 h 1644"/>
                  <a:gd name="T58" fmla="*/ 29 w 3734"/>
                  <a:gd name="T59" fmla="*/ 2 h 1644"/>
                  <a:gd name="T60" fmla="*/ 31 w 3734"/>
                  <a:gd name="T61" fmla="*/ 1 h 1644"/>
                  <a:gd name="T62" fmla="*/ 33 w 3734"/>
                  <a:gd name="T63" fmla="*/ 2 h 1644"/>
                  <a:gd name="T64" fmla="*/ 31 w 3734"/>
                  <a:gd name="T65" fmla="*/ 3 h 1644"/>
                  <a:gd name="T66" fmla="*/ 30 w 3734"/>
                  <a:gd name="T67" fmla="*/ 3 h 1644"/>
                  <a:gd name="T68" fmla="*/ 28 w 3734"/>
                  <a:gd name="T69" fmla="*/ 4 h 1644"/>
                  <a:gd name="T70" fmla="*/ 27 w 3734"/>
                  <a:gd name="T71" fmla="*/ 5 h 1644"/>
                  <a:gd name="T72" fmla="*/ 25 w 3734"/>
                  <a:gd name="T73" fmla="*/ 5 h 1644"/>
                  <a:gd name="T74" fmla="*/ 23 w 3734"/>
                  <a:gd name="T75" fmla="*/ 7 h 1644"/>
                  <a:gd name="T76" fmla="*/ 23 w 3734"/>
                  <a:gd name="T77" fmla="*/ 9 h 1644"/>
                  <a:gd name="T78" fmla="*/ 25 w 3734"/>
                  <a:gd name="T79" fmla="*/ 10 h 1644"/>
                  <a:gd name="T80" fmla="*/ 26 w 3734"/>
                  <a:gd name="T81" fmla="*/ 12 h 1644"/>
                  <a:gd name="T82" fmla="*/ 28 w 3734"/>
                  <a:gd name="T83" fmla="*/ 11 h 1644"/>
                  <a:gd name="T84" fmla="*/ 31 w 3734"/>
                  <a:gd name="T85" fmla="*/ 9 h 1644"/>
                  <a:gd name="T86" fmla="*/ 31 w 3734"/>
                  <a:gd name="T87" fmla="*/ 7 h 1644"/>
                  <a:gd name="T88" fmla="*/ 34 w 3734"/>
                  <a:gd name="T89" fmla="*/ 6 h 1644"/>
                  <a:gd name="T90" fmla="*/ 35 w 3734"/>
                  <a:gd name="T91" fmla="*/ 7 h 1644"/>
                  <a:gd name="T92" fmla="*/ 35 w 3734"/>
                  <a:gd name="T93" fmla="*/ 9 h 1644"/>
                  <a:gd name="T94" fmla="*/ 38 w 3734"/>
                  <a:gd name="T95" fmla="*/ 7 h 1644"/>
                  <a:gd name="T96" fmla="*/ 38 w 3734"/>
                  <a:gd name="T97" fmla="*/ 9 h 1644"/>
                  <a:gd name="T98" fmla="*/ 40 w 3734"/>
                  <a:gd name="T99" fmla="*/ 10 h 1644"/>
                  <a:gd name="T100" fmla="*/ 39 w 3734"/>
                  <a:gd name="T101" fmla="*/ 11 h 1644"/>
                  <a:gd name="T102" fmla="*/ 40 w 3734"/>
                  <a:gd name="T103" fmla="*/ 12 h 1644"/>
                  <a:gd name="T104" fmla="*/ 38 w 3734"/>
                  <a:gd name="T105" fmla="*/ 13 h 1644"/>
                  <a:gd name="T106" fmla="*/ 34 w 3734"/>
                  <a:gd name="T107" fmla="*/ 13 h 1644"/>
                  <a:gd name="T108" fmla="*/ 31 w 3734"/>
                  <a:gd name="T109" fmla="*/ 15 h 1644"/>
                  <a:gd name="T110" fmla="*/ 31 w 3734"/>
                  <a:gd name="T111" fmla="*/ 15 h 1644"/>
                  <a:gd name="T112" fmla="*/ 35 w 3734"/>
                  <a:gd name="T113" fmla="*/ 14 h 1644"/>
                  <a:gd name="T114" fmla="*/ 33 w 3734"/>
                  <a:gd name="T115" fmla="*/ 15 h 1644"/>
                  <a:gd name="T116" fmla="*/ 34 w 3734"/>
                  <a:gd name="T117" fmla="*/ 16 h 1644"/>
                  <a:gd name="T118" fmla="*/ 35 w 3734"/>
                  <a:gd name="T119" fmla="*/ 17 h 1644"/>
                  <a:gd name="T120" fmla="*/ 33 w 3734"/>
                  <a:gd name="T121" fmla="*/ 18 h 1644"/>
                  <a:gd name="T122" fmla="*/ 35 w 3734"/>
                  <a:gd name="T123" fmla="*/ 17 h 1644"/>
                  <a:gd name="T124" fmla="*/ 33 w 3734"/>
                  <a:gd name="T125" fmla="*/ 1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735" name="Freeform 434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3038" y="2639"/>
              <a:ext cx="80" cy="100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36" name="Freeform 435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3105" y="2734"/>
              <a:ext cx="4" cy="36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37" name="Freeform 436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2784" y="2253"/>
              <a:ext cx="157" cy="315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38" name="Freeform 437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2580" y="1864"/>
              <a:ext cx="10" cy="36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15" name="Group 438"/>
            <p:cNvGrpSpPr>
              <a:grpSpLocks/>
            </p:cNvGrpSpPr>
            <p:nvPr>
              <p:custDataLst>
                <p:tags r:id="rId259"/>
              </p:custDataLst>
            </p:nvPr>
          </p:nvGrpSpPr>
          <p:grpSpPr bwMode="auto">
            <a:xfrm>
              <a:off x="1509" y="3162"/>
              <a:ext cx="242" cy="650"/>
              <a:chOff x="1589" y="3126"/>
              <a:chExt cx="290" cy="657"/>
            </a:xfrm>
          </p:grpSpPr>
          <p:sp>
            <p:nvSpPr>
              <p:cNvPr id="120774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 w 46"/>
                  <a:gd name="T1" fmla="*/ 0 h 51"/>
                  <a:gd name="T2" fmla="*/ 0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0 h 51"/>
                  <a:gd name="T12" fmla="*/ 0 w 46"/>
                  <a:gd name="T13" fmla="*/ 0 h 51"/>
                  <a:gd name="T14" fmla="*/ 0 w 46"/>
                  <a:gd name="T15" fmla="*/ 0 h 51"/>
                  <a:gd name="T16" fmla="*/ 0 w 46"/>
                  <a:gd name="T17" fmla="*/ 0 h 51"/>
                  <a:gd name="T18" fmla="*/ 0 w 46"/>
                  <a:gd name="T19" fmla="*/ 0 h 51"/>
                  <a:gd name="T20" fmla="*/ 0 w 46"/>
                  <a:gd name="T21" fmla="*/ 0 h 51"/>
                  <a:gd name="T22" fmla="*/ 0 w 46"/>
                  <a:gd name="T23" fmla="*/ 1 h 51"/>
                  <a:gd name="T24" fmla="*/ 0 w 46"/>
                  <a:gd name="T25" fmla="*/ 1 h 51"/>
                  <a:gd name="T26" fmla="*/ 0 w 46"/>
                  <a:gd name="T27" fmla="*/ 1 h 51"/>
                  <a:gd name="T28" fmla="*/ 0 w 46"/>
                  <a:gd name="T29" fmla="*/ 1 h 51"/>
                  <a:gd name="T30" fmla="*/ 0 w 46"/>
                  <a:gd name="T31" fmla="*/ 1 h 51"/>
                  <a:gd name="T32" fmla="*/ 0 w 46"/>
                  <a:gd name="T33" fmla="*/ 1 h 51"/>
                  <a:gd name="T34" fmla="*/ 0 w 46"/>
                  <a:gd name="T35" fmla="*/ 1 h 51"/>
                  <a:gd name="T36" fmla="*/ 0 w 46"/>
                  <a:gd name="T37" fmla="*/ 1 h 51"/>
                  <a:gd name="T38" fmla="*/ 1 w 46"/>
                  <a:gd name="T39" fmla="*/ 1 h 51"/>
                  <a:gd name="T40" fmla="*/ 1 w 46"/>
                  <a:gd name="T41" fmla="*/ 0 h 51"/>
                  <a:gd name="T42" fmla="*/ 1 w 46"/>
                  <a:gd name="T43" fmla="*/ 0 h 51"/>
                  <a:gd name="T44" fmla="*/ 1 w 46"/>
                  <a:gd name="T45" fmla="*/ 0 h 51"/>
                  <a:gd name="T46" fmla="*/ 1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4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0 h 158"/>
                  <a:gd name="T4" fmla="*/ 0 w 192"/>
                  <a:gd name="T5" fmla="*/ 0 h 158"/>
                  <a:gd name="T6" fmla="*/ 0 w 192"/>
                  <a:gd name="T7" fmla="*/ 0 h 158"/>
                  <a:gd name="T8" fmla="*/ 0 w 192"/>
                  <a:gd name="T9" fmla="*/ 1 h 158"/>
                  <a:gd name="T10" fmla="*/ 0 w 192"/>
                  <a:gd name="T11" fmla="*/ 1 h 158"/>
                  <a:gd name="T12" fmla="*/ 0 w 192"/>
                  <a:gd name="T13" fmla="*/ 1 h 158"/>
                  <a:gd name="T14" fmla="*/ 0 w 192"/>
                  <a:gd name="T15" fmla="*/ 1 h 158"/>
                  <a:gd name="T16" fmla="*/ 0 w 192"/>
                  <a:gd name="T17" fmla="*/ 1 h 158"/>
                  <a:gd name="T18" fmla="*/ 1 w 192"/>
                  <a:gd name="T19" fmla="*/ 2 h 158"/>
                  <a:gd name="T20" fmla="*/ 1 w 192"/>
                  <a:gd name="T21" fmla="*/ 2 h 158"/>
                  <a:gd name="T22" fmla="*/ 1 w 192"/>
                  <a:gd name="T23" fmla="*/ 2 h 158"/>
                  <a:gd name="T24" fmla="*/ 1 w 192"/>
                  <a:gd name="T25" fmla="*/ 2 h 158"/>
                  <a:gd name="T26" fmla="*/ 1 w 192"/>
                  <a:gd name="T27" fmla="*/ 2 h 158"/>
                  <a:gd name="T28" fmla="*/ 1 w 192"/>
                  <a:gd name="T29" fmla="*/ 2 h 158"/>
                  <a:gd name="T30" fmla="*/ 1 w 192"/>
                  <a:gd name="T31" fmla="*/ 2 h 158"/>
                  <a:gd name="T32" fmla="*/ 1 w 192"/>
                  <a:gd name="T33" fmla="*/ 2 h 158"/>
                  <a:gd name="T34" fmla="*/ 2 w 192"/>
                  <a:gd name="T35" fmla="*/ 2 h 158"/>
                  <a:gd name="T36" fmla="*/ 2 w 192"/>
                  <a:gd name="T37" fmla="*/ 2 h 158"/>
                  <a:gd name="T38" fmla="*/ 2 w 192"/>
                  <a:gd name="T39" fmla="*/ 2 h 158"/>
                  <a:gd name="T40" fmla="*/ 2 w 192"/>
                  <a:gd name="T41" fmla="*/ 2 h 158"/>
                  <a:gd name="T42" fmla="*/ 2 w 192"/>
                  <a:gd name="T43" fmla="*/ 2 h 158"/>
                  <a:gd name="T44" fmla="*/ 2 w 192"/>
                  <a:gd name="T45" fmla="*/ 2 h 158"/>
                  <a:gd name="T46" fmla="*/ 2 w 192"/>
                  <a:gd name="T47" fmla="*/ 2 h 158"/>
                  <a:gd name="T48" fmla="*/ 2 w 192"/>
                  <a:gd name="T49" fmla="*/ 2 h 158"/>
                  <a:gd name="T50" fmla="*/ 1 w 192"/>
                  <a:gd name="T51" fmla="*/ 2 h 158"/>
                  <a:gd name="T52" fmla="*/ 1 w 192"/>
                  <a:gd name="T53" fmla="*/ 1 h 158"/>
                  <a:gd name="T54" fmla="*/ 1 w 192"/>
                  <a:gd name="T55" fmla="*/ 1 h 158"/>
                  <a:gd name="T56" fmla="*/ 1 w 192"/>
                  <a:gd name="T57" fmla="*/ 1 h 158"/>
                  <a:gd name="T58" fmla="*/ 1 w 192"/>
                  <a:gd name="T59" fmla="*/ 1 h 158"/>
                  <a:gd name="T60" fmla="*/ 1 w 192"/>
                  <a:gd name="T61" fmla="*/ 1 h 158"/>
                  <a:gd name="T62" fmla="*/ 1 w 192"/>
                  <a:gd name="T63" fmla="*/ 1 h 158"/>
                  <a:gd name="T64" fmla="*/ 0 w 192"/>
                  <a:gd name="T65" fmla="*/ 1 h 158"/>
                  <a:gd name="T66" fmla="*/ 0 w 192"/>
                  <a:gd name="T67" fmla="*/ 0 h 158"/>
                  <a:gd name="T68" fmla="*/ 0 w 192"/>
                  <a:gd name="T69" fmla="*/ 0 h 158"/>
                  <a:gd name="T70" fmla="*/ 0 w 192"/>
                  <a:gd name="T71" fmla="*/ 0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74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9 w 884"/>
                  <a:gd name="T1" fmla="*/ 5 h 1818"/>
                  <a:gd name="T2" fmla="*/ 10 w 884"/>
                  <a:gd name="T3" fmla="*/ 4 h 1818"/>
                  <a:gd name="T4" fmla="*/ 10 w 884"/>
                  <a:gd name="T5" fmla="*/ 3 h 1818"/>
                  <a:gd name="T6" fmla="*/ 10 w 884"/>
                  <a:gd name="T7" fmla="*/ 2 h 1818"/>
                  <a:gd name="T8" fmla="*/ 10 w 884"/>
                  <a:gd name="T9" fmla="*/ 3 h 1818"/>
                  <a:gd name="T10" fmla="*/ 9 w 884"/>
                  <a:gd name="T11" fmla="*/ 4 h 1818"/>
                  <a:gd name="T12" fmla="*/ 8 w 884"/>
                  <a:gd name="T13" fmla="*/ 4 h 1818"/>
                  <a:gd name="T14" fmla="*/ 7 w 884"/>
                  <a:gd name="T15" fmla="*/ 4 h 1818"/>
                  <a:gd name="T16" fmla="*/ 8 w 884"/>
                  <a:gd name="T17" fmla="*/ 3 h 1818"/>
                  <a:gd name="T18" fmla="*/ 6 w 884"/>
                  <a:gd name="T19" fmla="*/ 2 h 1818"/>
                  <a:gd name="T20" fmla="*/ 5 w 884"/>
                  <a:gd name="T21" fmla="*/ 1 h 1818"/>
                  <a:gd name="T22" fmla="*/ 4 w 884"/>
                  <a:gd name="T23" fmla="*/ 0 h 1818"/>
                  <a:gd name="T24" fmla="*/ 3 w 884"/>
                  <a:gd name="T25" fmla="*/ 0 h 1818"/>
                  <a:gd name="T26" fmla="*/ 3 w 884"/>
                  <a:gd name="T27" fmla="*/ 0 h 1818"/>
                  <a:gd name="T28" fmla="*/ 2 w 884"/>
                  <a:gd name="T29" fmla="*/ 0 h 1818"/>
                  <a:gd name="T30" fmla="*/ 1 w 884"/>
                  <a:gd name="T31" fmla="*/ 1 h 1818"/>
                  <a:gd name="T32" fmla="*/ 1 w 884"/>
                  <a:gd name="T33" fmla="*/ 1 h 1818"/>
                  <a:gd name="T34" fmla="*/ 0 w 884"/>
                  <a:gd name="T35" fmla="*/ 2 h 1818"/>
                  <a:gd name="T36" fmla="*/ 1 w 884"/>
                  <a:gd name="T37" fmla="*/ 3 h 1818"/>
                  <a:gd name="T38" fmla="*/ 1 w 884"/>
                  <a:gd name="T39" fmla="*/ 4 h 1818"/>
                  <a:gd name="T40" fmla="*/ 0 w 884"/>
                  <a:gd name="T41" fmla="*/ 5 h 1818"/>
                  <a:gd name="T42" fmla="*/ 0 w 884"/>
                  <a:gd name="T43" fmla="*/ 8 h 1818"/>
                  <a:gd name="T44" fmla="*/ 1 w 884"/>
                  <a:gd name="T45" fmla="*/ 9 h 1818"/>
                  <a:gd name="T46" fmla="*/ 1 w 884"/>
                  <a:gd name="T47" fmla="*/ 9 h 1818"/>
                  <a:gd name="T48" fmla="*/ 1 w 884"/>
                  <a:gd name="T49" fmla="*/ 10 h 1818"/>
                  <a:gd name="T50" fmla="*/ 1 w 884"/>
                  <a:gd name="T51" fmla="*/ 10 h 1818"/>
                  <a:gd name="T52" fmla="*/ 1 w 884"/>
                  <a:gd name="T53" fmla="*/ 11 h 1818"/>
                  <a:gd name="T54" fmla="*/ 1 w 884"/>
                  <a:gd name="T55" fmla="*/ 12 h 1818"/>
                  <a:gd name="T56" fmla="*/ 1 w 884"/>
                  <a:gd name="T57" fmla="*/ 13 h 1818"/>
                  <a:gd name="T58" fmla="*/ 1 w 884"/>
                  <a:gd name="T59" fmla="*/ 14 h 1818"/>
                  <a:gd name="T60" fmla="*/ 2 w 884"/>
                  <a:gd name="T61" fmla="*/ 16 h 1818"/>
                  <a:gd name="T62" fmla="*/ 2 w 884"/>
                  <a:gd name="T63" fmla="*/ 17 h 1818"/>
                  <a:gd name="T64" fmla="*/ 3 w 884"/>
                  <a:gd name="T65" fmla="*/ 18 h 1818"/>
                  <a:gd name="T66" fmla="*/ 3 w 884"/>
                  <a:gd name="T67" fmla="*/ 19 h 1818"/>
                  <a:gd name="T68" fmla="*/ 3 w 884"/>
                  <a:gd name="T69" fmla="*/ 20 h 1818"/>
                  <a:gd name="T70" fmla="*/ 2 w 884"/>
                  <a:gd name="T71" fmla="*/ 20 h 1818"/>
                  <a:gd name="T72" fmla="*/ 3 w 884"/>
                  <a:gd name="T73" fmla="*/ 21 h 1818"/>
                  <a:gd name="T74" fmla="*/ 4 w 884"/>
                  <a:gd name="T75" fmla="*/ 22 h 1818"/>
                  <a:gd name="T76" fmla="*/ 5 w 884"/>
                  <a:gd name="T77" fmla="*/ 22 h 1818"/>
                  <a:gd name="T78" fmla="*/ 5 w 884"/>
                  <a:gd name="T79" fmla="*/ 22 h 1818"/>
                  <a:gd name="T80" fmla="*/ 5 w 884"/>
                  <a:gd name="T81" fmla="*/ 21 h 1818"/>
                  <a:gd name="T82" fmla="*/ 6 w 884"/>
                  <a:gd name="T83" fmla="*/ 20 h 1818"/>
                  <a:gd name="T84" fmla="*/ 6 w 884"/>
                  <a:gd name="T85" fmla="*/ 19 h 1818"/>
                  <a:gd name="T86" fmla="*/ 5 w 884"/>
                  <a:gd name="T87" fmla="*/ 18 h 1818"/>
                  <a:gd name="T88" fmla="*/ 5 w 884"/>
                  <a:gd name="T89" fmla="*/ 18 h 1818"/>
                  <a:gd name="T90" fmla="*/ 5 w 884"/>
                  <a:gd name="T91" fmla="*/ 17 h 1818"/>
                  <a:gd name="T92" fmla="*/ 6 w 884"/>
                  <a:gd name="T93" fmla="*/ 16 h 1818"/>
                  <a:gd name="T94" fmla="*/ 5 w 884"/>
                  <a:gd name="T95" fmla="*/ 15 h 1818"/>
                  <a:gd name="T96" fmla="*/ 5 w 884"/>
                  <a:gd name="T97" fmla="*/ 14 h 1818"/>
                  <a:gd name="T98" fmla="*/ 6 w 884"/>
                  <a:gd name="T99" fmla="*/ 14 h 1818"/>
                  <a:gd name="T100" fmla="*/ 7 w 884"/>
                  <a:gd name="T101" fmla="*/ 14 h 1818"/>
                  <a:gd name="T102" fmla="*/ 7 w 884"/>
                  <a:gd name="T103" fmla="*/ 13 h 1818"/>
                  <a:gd name="T104" fmla="*/ 7 w 884"/>
                  <a:gd name="T105" fmla="*/ 13 h 1818"/>
                  <a:gd name="T106" fmla="*/ 8 w 884"/>
                  <a:gd name="T107" fmla="*/ 13 h 1818"/>
                  <a:gd name="T108" fmla="*/ 9 w 884"/>
                  <a:gd name="T109" fmla="*/ 12 h 1818"/>
                  <a:gd name="T110" fmla="*/ 10 w 884"/>
                  <a:gd name="T111" fmla="*/ 11 h 1818"/>
                  <a:gd name="T112" fmla="*/ 9 w 884"/>
                  <a:gd name="T113" fmla="*/ 11 h 1818"/>
                  <a:gd name="T114" fmla="*/ 9 w 884"/>
                  <a:gd name="T115" fmla="*/ 10 h 1818"/>
                  <a:gd name="T116" fmla="*/ 8 w 884"/>
                  <a:gd name="T117" fmla="*/ 9 h 1818"/>
                  <a:gd name="T118" fmla="*/ 8 w 884"/>
                  <a:gd name="T119" fmla="*/ 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743" name="Freeform 442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3216" y="1872"/>
              <a:ext cx="78" cy="69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44" name="Freeform 443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2880" y="1603"/>
              <a:ext cx="132" cy="95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45" name="Freeform 444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2790" y="1812"/>
              <a:ext cx="52" cy="55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46" name="Freeform 445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60" y="2717"/>
              <a:ext cx="52" cy="36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47" name="Freeform 446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2890" y="1834"/>
              <a:ext cx="84" cy="61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48" name="Freeform 447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2484" y="2418"/>
              <a:ext cx="112" cy="104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49" name="Freeform 448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2703" y="2461"/>
              <a:ext cx="122" cy="220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0" name="Freeform 449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247" y="2309"/>
              <a:ext cx="35" cy="36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1" name="Freeform 45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1321" y="2475"/>
              <a:ext cx="188" cy="33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52" name="Freeform 451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2740" y="2644"/>
              <a:ext cx="118" cy="173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3" name="Freeform 45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2760" y="1789"/>
              <a:ext cx="80" cy="72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54" name="Freeform 45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2729" y="1700"/>
              <a:ext cx="106" cy="49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5" name="Freeform 454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2706" y="1609"/>
              <a:ext cx="19" cy="38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6" name="Freeform 45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2688" y="1612"/>
              <a:ext cx="16" cy="37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7" name="Freeform 456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2669" y="1578"/>
              <a:ext cx="33" cy="49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58" name="Freeform 457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2941" y="2085"/>
              <a:ext cx="172" cy="194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59" name="Freeform 458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2686" y="1855"/>
              <a:ext cx="11" cy="36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0" name="Freeform 459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2509" y="1698"/>
              <a:ext cx="186" cy="172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1" name="Freeform 460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3140" y="1846"/>
              <a:ext cx="95" cy="52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2" name="Freeform 461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2856" y="1884"/>
              <a:ext cx="93" cy="109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3" name="Freeform 46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2909" y="2005"/>
              <a:ext cx="44" cy="36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64" name="Freeform 46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2329" y="2466"/>
              <a:ext cx="118" cy="10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5" name="Freeform 46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3617" y="2002"/>
              <a:ext cx="436" cy="551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6" name="Freeform 46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434" y="2503"/>
              <a:ext cx="100" cy="130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7" name="Freeform 46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107" y="2626"/>
              <a:ext cx="121" cy="171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8" name="Freeform 46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096" y="2050"/>
              <a:ext cx="64" cy="82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69" name="Freeform 46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284" y="2115"/>
              <a:ext cx="14" cy="35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0" name="Freeform 46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2835" y="1570"/>
              <a:ext cx="102" cy="42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71" name="Freeform 47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094" y="2024"/>
              <a:ext cx="19" cy="36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2" name="Freeform 47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2978" y="3291"/>
              <a:ext cx="39" cy="36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3" name="Freeform 47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2834" y="1600"/>
              <a:ext cx="83" cy="53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74" name="Freeform 47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2649" y="1717"/>
              <a:ext cx="12" cy="38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75" name="Freeform 47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088" y="2904"/>
              <a:ext cx="44" cy="152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6" name="Freeform 47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2768" y="2004"/>
              <a:ext cx="9" cy="36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7" name="Freeform 47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2969" y="3025"/>
              <a:ext cx="119" cy="13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8" name="Freeform 47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2914" y="2884"/>
              <a:ext cx="185" cy="189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79" name="Freeform 47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2748" y="3056"/>
              <a:ext cx="221" cy="240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80" name="Freeform 47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2294" y="2382"/>
              <a:ext cx="102" cy="89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81" name="Freeform 48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033" y="2736"/>
              <a:ext cx="170" cy="211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782" name="Freeform 48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648" y="1800"/>
              <a:ext cx="12" cy="36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3" name="Freeform 48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9" y="1801"/>
              <a:ext cx="89" cy="79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4" name="Freeform 48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540" y="2024"/>
              <a:ext cx="33" cy="36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5" name="Freeform 48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506" y="2033"/>
              <a:ext cx="38" cy="53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6" name="Freeform 48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516" y="1883"/>
              <a:ext cx="132" cy="154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7" name="Freeform 48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2994" y="1184"/>
              <a:ext cx="68" cy="38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8" name="Freeform 48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3084" y="1173"/>
              <a:ext cx="40" cy="36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89" name="Freeform 48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3107" y="1178"/>
              <a:ext cx="82" cy="36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0" name="Freeform 48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3443" y="1295"/>
              <a:ext cx="26" cy="36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1" name="Freeform 49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3386" y="1206"/>
              <a:ext cx="10" cy="37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2" name="Freeform 49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3400" y="1180"/>
              <a:ext cx="9" cy="38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3" name="Freeform 49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3491" y="1253"/>
              <a:ext cx="11" cy="36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4" name="Freeform 49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3525" y="1180"/>
              <a:ext cx="59" cy="38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5" name="Freeform 49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3563" y="1196"/>
              <a:ext cx="65" cy="38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6" name="Freeform 49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3637" y="1205"/>
              <a:ext cx="52" cy="36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7" name="Freeform 49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3969" y="1284"/>
              <a:ext cx="50" cy="37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8" name="Freeform 49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011" y="1295"/>
              <a:ext cx="21" cy="36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799" name="Freeform 49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030" y="1302"/>
              <a:ext cx="33" cy="37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0" name="Freeform 49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886" y="1285"/>
              <a:ext cx="39" cy="37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1" name="Freeform 50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075" y="1248"/>
              <a:ext cx="88" cy="36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2" name="Freeform 50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176" y="1253"/>
              <a:ext cx="60" cy="36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3" name="Freeform 50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151" y="1283"/>
              <a:ext cx="40" cy="37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4" name="Freeform 50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138" y="1281"/>
              <a:ext cx="13" cy="37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5" name="Line 504"/>
            <p:cNvSpPr>
              <a:spLocks noChangeShapeType="1"/>
            </p:cNvSpPr>
            <p:nvPr>
              <p:custDataLst>
                <p:tags r:id="rId322"/>
              </p:custDataLst>
            </p:nvPr>
          </p:nvSpPr>
          <p:spPr bwMode="auto">
            <a:xfrm flipV="1">
              <a:off x="4139" y="1280"/>
              <a:ext cx="0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6" name="Freeform 50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3616" y="1235"/>
              <a:ext cx="7" cy="35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7" name="Freeform 50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088" y="1280"/>
              <a:ext cx="6" cy="36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8" name="Freeform 50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059" y="1257"/>
              <a:ext cx="6" cy="36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09" name="Freeform 50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374" y="1616"/>
              <a:ext cx="8" cy="37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0" name="Freeform 50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559" y="1315"/>
              <a:ext cx="35" cy="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1" name="Freeform 51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645" y="1537"/>
              <a:ext cx="9" cy="36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2" name="Freeform 51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4739" y="1608"/>
              <a:ext cx="27" cy="38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3" name="Freeform 51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771" y="1618"/>
              <a:ext cx="12" cy="37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4" name="Freeform 51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4686" y="1698"/>
              <a:ext cx="9" cy="36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5" name="Freeform 51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4693" y="1716"/>
              <a:ext cx="2" cy="38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6" name="Freeform 51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4685" y="1768"/>
              <a:ext cx="6" cy="35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7" name="Freeform 51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4671" y="1790"/>
              <a:ext cx="0" cy="37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8" name="Freeform 51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4671" y="1790"/>
              <a:ext cx="5" cy="37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19" name="Freeform 51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4516" y="1530"/>
              <a:ext cx="11" cy="38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0" name="Freeform 51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2825" y="1618"/>
              <a:ext cx="30" cy="37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1" name="Freeform 52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3108" y="1361"/>
              <a:ext cx="27" cy="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2" name="Freeform 52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3130" y="1243"/>
              <a:ext cx="144" cy="103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3" name="Freeform 52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2999" y="1439"/>
              <a:ext cx="20" cy="35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4" name="Freeform 52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4451" y="1626"/>
              <a:ext cx="124" cy="169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grpSp>
          <p:nvGrpSpPr>
            <p:cNvPr id="16" name="Group 524"/>
            <p:cNvGrpSpPr>
              <a:grpSpLocks/>
            </p:cNvGrpSpPr>
            <p:nvPr>
              <p:custDataLst>
                <p:tags r:id="rId342"/>
              </p:custDataLst>
            </p:nvPr>
          </p:nvGrpSpPr>
          <p:grpSpPr bwMode="auto">
            <a:xfrm>
              <a:off x="3689" y="1598"/>
              <a:ext cx="423" cy="242"/>
              <a:chOff x="4115" y="1551"/>
              <a:chExt cx="504" cy="244"/>
            </a:xfrm>
          </p:grpSpPr>
          <p:sp>
            <p:nvSpPr>
              <p:cNvPr id="1207826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3 h 259"/>
                  <a:gd name="T2" fmla="*/ 1 w 240"/>
                  <a:gd name="T3" fmla="*/ 3 h 259"/>
                  <a:gd name="T4" fmla="*/ 1 w 240"/>
                  <a:gd name="T5" fmla="*/ 3 h 259"/>
                  <a:gd name="T6" fmla="*/ 2 w 240"/>
                  <a:gd name="T7" fmla="*/ 3 h 259"/>
                  <a:gd name="T8" fmla="*/ 2 w 240"/>
                  <a:gd name="T9" fmla="*/ 2 h 259"/>
                  <a:gd name="T10" fmla="*/ 3 w 240"/>
                  <a:gd name="T11" fmla="*/ 1 h 259"/>
                  <a:gd name="T12" fmla="*/ 3 w 240"/>
                  <a:gd name="T13" fmla="*/ 0 h 259"/>
                  <a:gd name="T14" fmla="*/ 3 w 240"/>
                  <a:gd name="T15" fmla="*/ 0 h 259"/>
                  <a:gd name="T16" fmla="*/ 2 w 240"/>
                  <a:gd name="T17" fmla="*/ 0 h 259"/>
                  <a:gd name="T18" fmla="*/ 2 w 240"/>
                  <a:gd name="T19" fmla="*/ 1 h 259"/>
                  <a:gd name="T20" fmla="*/ 2 w 240"/>
                  <a:gd name="T21" fmla="*/ 1 h 259"/>
                  <a:gd name="T22" fmla="*/ 2 w 240"/>
                  <a:gd name="T23" fmla="*/ 2 h 259"/>
                  <a:gd name="T24" fmla="*/ 1 w 240"/>
                  <a:gd name="T25" fmla="*/ 2 h 259"/>
                  <a:gd name="T26" fmla="*/ 1 w 240"/>
                  <a:gd name="T27" fmla="*/ 3 h 259"/>
                  <a:gd name="T28" fmla="*/ 0 w 240"/>
                  <a:gd name="T29" fmla="*/ 3 h 259"/>
                  <a:gd name="T30" fmla="*/ 0 w 240"/>
                  <a:gd name="T31" fmla="*/ 3 h 259"/>
                  <a:gd name="T32" fmla="*/ 0 w 240"/>
                  <a:gd name="T33" fmla="*/ 3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07827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1 h 104"/>
                  <a:gd name="T2" fmla="*/ 0 w 259"/>
                  <a:gd name="T3" fmla="*/ 1 h 104"/>
                  <a:gd name="T4" fmla="*/ 1 w 259"/>
                  <a:gd name="T5" fmla="*/ 1 h 104"/>
                  <a:gd name="T6" fmla="*/ 1 w 259"/>
                  <a:gd name="T7" fmla="*/ 1 h 104"/>
                  <a:gd name="T8" fmla="*/ 1 w 259"/>
                  <a:gd name="T9" fmla="*/ 1 h 104"/>
                  <a:gd name="T10" fmla="*/ 2 w 259"/>
                  <a:gd name="T11" fmla="*/ 1 h 104"/>
                  <a:gd name="T12" fmla="*/ 3 w 259"/>
                  <a:gd name="T13" fmla="*/ 0 h 104"/>
                  <a:gd name="T14" fmla="*/ 3 w 259"/>
                  <a:gd name="T15" fmla="*/ 0 h 104"/>
                  <a:gd name="T16" fmla="*/ 3 w 259"/>
                  <a:gd name="T17" fmla="*/ 0 h 104"/>
                  <a:gd name="T18" fmla="*/ 2 w 259"/>
                  <a:gd name="T19" fmla="*/ 0 h 104"/>
                  <a:gd name="T20" fmla="*/ 2 w 259"/>
                  <a:gd name="T21" fmla="*/ 0 h 104"/>
                  <a:gd name="T22" fmla="*/ 1 w 259"/>
                  <a:gd name="T23" fmla="*/ 0 h 104"/>
                  <a:gd name="T24" fmla="*/ 1 w 259"/>
                  <a:gd name="T25" fmla="*/ 0 h 104"/>
                  <a:gd name="T26" fmla="*/ 0 w 259"/>
                  <a:gd name="T27" fmla="*/ 1 h 104"/>
                  <a:gd name="T28" fmla="*/ 0 w 259"/>
                  <a:gd name="T29" fmla="*/ 1 h 104"/>
                  <a:gd name="T30" fmla="*/ 0 w 259"/>
                  <a:gd name="T31" fmla="*/ 1 h 104"/>
                  <a:gd name="T32" fmla="*/ 0 w 259"/>
                  <a:gd name="T33" fmla="*/ 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207828" name="Freeform 527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3095" y="2070"/>
              <a:ext cx="334" cy="322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29" name="Freeform 528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2764" y="1783"/>
              <a:ext cx="36" cy="36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0" name="Freeform 529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2600" y="1917"/>
              <a:ext cx="10" cy="36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1" name="Freeform 530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2343" y="2135"/>
              <a:ext cx="18" cy="36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2" name="Freeform 531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2306" y="2145"/>
              <a:ext cx="15" cy="38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3" name="Freeform 532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2290" y="2141"/>
              <a:ext cx="4" cy="36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4" name="Freeform 533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3091" y="1970"/>
              <a:ext cx="110" cy="100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0099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835" name="Freeform 534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4410" y="2210"/>
              <a:ext cx="27" cy="50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7" name="Group 535"/>
            <p:cNvGrpSpPr>
              <a:grpSpLocks/>
            </p:cNvGrpSpPr>
            <p:nvPr>
              <p:custDataLst>
                <p:tags r:id="rId351"/>
              </p:custDataLst>
            </p:nvPr>
          </p:nvGrpSpPr>
          <p:grpSpPr bwMode="auto">
            <a:xfrm>
              <a:off x="2928" y="1875"/>
              <a:ext cx="304" cy="127"/>
              <a:chOff x="3289" y="1830"/>
              <a:chExt cx="363" cy="128"/>
            </a:xfrm>
            <a:solidFill>
              <a:srgbClr val="66FF99"/>
            </a:solidFill>
          </p:grpSpPr>
          <p:sp>
            <p:nvSpPr>
              <p:cNvPr id="904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905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906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907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908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l" eaLnBrk="1" hangingPunct="1">
                  <a:defRPr/>
                </a:pPr>
                <a:endParaRPr lang="de-DE" sz="1800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207837" name="Freeform 541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1661" y="2601"/>
              <a:ext cx="63" cy="7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38" name="Freeform 542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4146" y="2246"/>
              <a:ext cx="131" cy="289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66FF99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839" name="Freeform 543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201" y="2678"/>
              <a:ext cx="16" cy="36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840" name="Freeform 544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3377" y="2211"/>
              <a:ext cx="110" cy="171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0099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41" name="Freeform 545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2575" y="2245"/>
              <a:ext cx="237" cy="243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842" name="Freeform 546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2367" y="2004"/>
              <a:ext cx="189" cy="164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43" name="Freeform 547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2808" y="1330"/>
              <a:ext cx="149" cy="58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66FF99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7844" name="Freeform 548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3130" y="1320"/>
              <a:ext cx="68" cy="38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45" name="Freeform 549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3220" y="1309"/>
              <a:ext cx="40" cy="36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207846" name="Freeform 550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3243" y="1314"/>
              <a:ext cx="82" cy="36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530" name="Rectangle 3"/>
          <p:cNvSpPr>
            <a:spLocks noChangeArrowheads="1"/>
          </p:cNvSpPr>
          <p:nvPr/>
        </p:nvSpPr>
        <p:spPr bwMode="auto">
          <a:xfrm>
            <a:off x="358081" y="253281"/>
            <a:ext cx="6534844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l" eaLnBrk="1" hangingPunct="1">
              <a:lnSpc>
                <a:spcPct val="90000"/>
              </a:lnSpc>
            </a:pPr>
            <a:r>
              <a:rPr lang="de-DE" sz="2800" b="1" dirty="0" smtClean="0">
                <a:solidFill>
                  <a:srgbClr val="C00000"/>
                </a:solidFill>
                <a:ea typeface="ＭＳ Ｐゴシック" pitchFamily="34" charset="-128"/>
              </a:rPr>
              <a:t>Worldwide Interest in HbbTV</a:t>
            </a:r>
            <a:endParaRPr lang="de-DE" sz="2800" b="1" dirty="0">
              <a:solidFill>
                <a:srgbClr val="C00000"/>
              </a:solidFill>
              <a:ea typeface="ＭＳ Ｐゴシック" pitchFamily="34" charset="-128"/>
            </a:endParaRPr>
          </a:p>
        </p:txBody>
      </p:sp>
      <p:sp>
        <p:nvSpPr>
          <p:cNvPr id="532" name="Oval 5"/>
          <p:cNvSpPr>
            <a:spLocks noChangeArrowheads="1"/>
          </p:cNvSpPr>
          <p:nvPr/>
        </p:nvSpPr>
        <p:spPr bwMode="auto">
          <a:xfrm>
            <a:off x="6671619" y="2317750"/>
            <a:ext cx="609327" cy="208965"/>
          </a:xfrm>
          <a:prstGeom prst="ellipse">
            <a:avLst/>
          </a:prstGeom>
          <a:solidFill>
            <a:srgbClr val="66FF66">
              <a:alpha val="56000"/>
            </a:srgbClr>
          </a:solidFill>
          <a:ln>
            <a:noFill/>
          </a:ln>
          <a:effectLst/>
          <a:extLst/>
        </p:spPr>
        <p:txBody>
          <a:bodyPr wrap="square" lIns="90000" tIns="0" rIns="0" bIns="0" anchor="ctr">
            <a:noAutofit/>
          </a:bodyPr>
          <a:lstStyle/>
          <a:p>
            <a:r>
              <a:rPr lang="de-DE" sz="1000" dirty="0" err="1" smtClean="0"/>
              <a:t>trials</a:t>
            </a:r>
            <a:endParaRPr lang="de-DE" sz="1000" dirty="0"/>
          </a:p>
        </p:txBody>
      </p:sp>
      <p:sp>
        <p:nvSpPr>
          <p:cNvPr id="533" name="Oval 5"/>
          <p:cNvSpPr>
            <a:spLocks noChangeArrowheads="1"/>
          </p:cNvSpPr>
          <p:nvPr/>
        </p:nvSpPr>
        <p:spPr bwMode="auto">
          <a:xfrm>
            <a:off x="1070180" y="2204249"/>
            <a:ext cx="831082" cy="203658"/>
          </a:xfrm>
          <a:prstGeom prst="ellipse">
            <a:avLst/>
          </a:prstGeom>
          <a:solidFill>
            <a:srgbClr val="FFCC00">
              <a:alpha val="56000"/>
            </a:srgbClr>
          </a:solidFill>
          <a:ln>
            <a:noFill/>
          </a:ln>
          <a:effectLst/>
          <a:extLst/>
        </p:spPr>
        <p:txBody>
          <a:bodyPr wrap="square" lIns="90000" tIns="0" rIns="0" bIns="0" anchor="ctr">
            <a:noAutofit/>
          </a:bodyPr>
          <a:lstStyle/>
          <a:p>
            <a:r>
              <a:rPr lang="de-DE" sz="1000" dirty="0" smtClean="0"/>
              <a:t>Interest</a:t>
            </a:r>
            <a:endParaRPr lang="de-DE" sz="1000" dirty="0"/>
          </a:p>
        </p:txBody>
      </p:sp>
      <p:sp>
        <p:nvSpPr>
          <p:cNvPr id="534" name="Oval 5"/>
          <p:cNvSpPr>
            <a:spLocks noChangeArrowheads="1"/>
          </p:cNvSpPr>
          <p:nvPr/>
        </p:nvSpPr>
        <p:spPr bwMode="auto">
          <a:xfrm>
            <a:off x="2204144" y="3718800"/>
            <a:ext cx="831082" cy="203658"/>
          </a:xfrm>
          <a:prstGeom prst="ellipse">
            <a:avLst/>
          </a:prstGeom>
          <a:solidFill>
            <a:srgbClr val="FFCC00">
              <a:alpha val="56000"/>
            </a:srgbClr>
          </a:solidFill>
          <a:ln>
            <a:noFill/>
          </a:ln>
          <a:effectLst/>
          <a:extLst/>
        </p:spPr>
        <p:txBody>
          <a:bodyPr wrap="square" lIns="90000" tIns="0" rIns="0" bIns="0" anchor="ctr">
            <a:noAutofit/>
          </a:bodyPr>
          <a:lstStyle/>
          <a:p>
            <a:r>
              <a:rPr lang="de-DE" sz="1000" dirty="0" smtClean="0"/>
              <a:t>Interest</a:t>
            </a:r>
            <a:endParaRPr lang="de-DE" sz="1000" dirty="0"/>
          </a:p>
        </p:txBody>
      </p:sp>
      <p:sp>
        <p:nvSpPr>
          <p:cNvPr id="536" name="TextBox 535"/>
          <p:cNvSpPr txBox="1"/>
          <p:nvPr/>
        </p:nvSpPr>
        <p:spPr>
          <a:xfrm>
            <a:off x="3370520" y="5411972"/>
            <a:ext cx="595714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/>
            <a:r>
              <a:rPr lang="fr-CA" sz="1400" b="1" dirty="0" smtClean="0"/>
              <a:t>Last few </a:t>
            </a:r>
            <a:r>
              <a:rPr lang="fr-CA" sz="1400" b="1" dirty="0" err="1" smtClean="0"/>
              <a:t>weeks</a:t>
            </a:r>
            <a:endParaRPr lang="fr-CA" sz="1400" b="1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ASBU (EBU for Arabic countries) is also adding HbbTV to its DTT recommendations </a:t>
            </a:r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French speaking African </a:t>
            </a:r>
            <a:r>
              <a:rPr lang="en-US" sz="1400" dirty="0" smtClean="0"/>
              <a:t>countries as well</a:t>
            </a:r>
            <a:endParaRPr lang="en-US" sz="14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Australia – </a:t>
            </a:r>
            <a:r>
              <a:rPr lang="en-US" sz="1400" dirty="0" err="1" smtClean="0"/>
              <a:t>FreeView</a:t>
            </a:r>
            <a:r>
              <a:rPr lang="en-US" sz="1400" dirty="0" smtClean="0"/>
              <a:t> plus launched announced</a:t>
            </a:r>
            <a:endParaRPr lang="fr-CA" sz="1400" dirty="0" smtClean="0"/>
          </a:p>
          <a:p>
            <a:pPr marL="85725" indent="-85725"/>
            <a:endParaRPr lang="fr-CA" sz="1400" dirty="0"/>
          </a:p>
        </p:txBody>
      </p:sp>
    </p:spTree>
    <p:extLst>
      <p:ext uri="{BB962C8B-B14F-4D97-AF65-F5344CB8AC3E}">
        <p14:creationId xmlns="" xmlns:p14="http://schemas.microsoft.com/office/powerpoint/2010/main" val="42155911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-160603"/>
            <a:ext cx="7772400" cy="1114425"/>
          </a:xfrm>
        </p:spPr>
        <p:txBody>
          <a:bodyPr/>
          <a:lstStyle/>
          <a:p>
            <a:r>
              <a:rPr lang="fr-CA" dirty="0" smtClean="0"/>
              <a:t>HbbTV </a:t>
            </a:r>
            <a:r>
              <a:rPr lang="fr-CA" dirty="0" err="1" smtClean="0"/>
              <a:t>Devices</a:t>
            </a:r>
            <a:r>
              <a:rPr lang="fr-CA" dirty="0" smtClean="0"/>
              <a:t> </a:t>
            </a:r>
            <a:br>
              <a:rPr lang="fr-CA" dirty="0" smtClean="0"/>
            </a:br>
            <a:r>
              <a:rPr lang="fr-CA" sz="2400" dirty="0" err="1" smtClean="0">
                <a:solidFill>
                  <a:srgbClr val="425180"/>
                </a:solidFill>
              </a:rPr>
              <a:t>Today</a:t>
            </a:r>
            <a:r>
              <a:rPr lang="fr-CA" sz="2400" dirty="0" smtClean="0"/>
              <a:t> </a:t>
            </a:r>
            <a:r>
              <a:rPr lang="fr-CA" sz="2400" dirty="0" smtClean="0">
                <a:solidFill>
                  <a:srgbClr val="425180"/>
                </a:solidFill>
              </a:rPr>
              <a:t>&amp;</a:t>
            </a:r>
            <a:r>
              <a:rPr lang="fr-CA" sz="2400" dirty="0" smtClean="0"/>
              <a:t> </a:t>
            </a:r>
            <a:r>
              <a:rPr lang="fr-CA" sz="2400" dirty="0" err="1" smtClean="0">
                <a:solidFill>
                  <a:srgbClr val="00B050"/>
                </a:solidFill>
              </a:rPr>
              <a:t>Tomorrow</a:t>
            </a:r>
            <a:endParaRPr lang="fr-CA" dirty="0">
              <a:solidFill>
                <a:srgbClr val="00B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19924" y="6054492"/>
            <a:ext cx="1438275" cy="365125"/>
          </a:xfrm>
        </p:spPr>
        <p:txBody>
          <a:bodyPr/>
          <a:lstStyle/>
          <a:p>
            <a:fld id="{A5B63424-8F5B-4E44-8505-F9C5D492B398}" type="slidenum">
              <a:rPr lang="en-CA" smtClean="0"/>
              <a:pPr/>
              <a:t>7</a:t>
            </a:fld>
            <a:endParaRPr lang="en-CA"/>
          </a:p>
        </p:txBody>
      </p:sp>
      <p:sp>
        <p:nvSpPr>
          <p:cNvPr id="12" name="Freeform 60"/>
          <p:cNvSpPr>
            <a:spLocks noEditPoints="1"/>
          </p:cNvSpPr>
          <p:nvPr/>
        </p:nvSpPr>
        <p:spPr bwMode="auto">
          <a:xfrm>
            <a:off x="2115519" y="2116430"/>
            <a:ext cx="1622859" cy="1029729"/>
          </a:xfrm>
          <a:custGeom>
            <a:avLst/>
            <a:gdLst/>
            <a:ahLst/>
            <a:cxnLst>
              <a:cxn ang="0">
                <a:pos x="117" y="38"/>
              </a:cxn>
              <a:cxn ang="0">
                <a:pos x="117" y="38"/>
              </a:cxn>
              <a:cxn ang="0">
                <a:pos x="99" y="20"/>
              </a:cxn>
              <a:cxn ang="0">
                <a:pos x="91" y="22"/>
              </a:cxn>
              <a:cxn ang="0">
                <a:pos x="58" y="0"/>
              </a:cxn>
              <a:cxn ang="0">
                <a:pos x="22" y="36"/>
              </a:cxn>
              <a:cxn ang="0">
                <a:pos x="22" y="38"/>
              </a:cxn>
              <a:cxn ang="0">
                <a:pos x="0" y="61"/>
              </a:cxn>
              <a:cxn ang="0">
                <a:pos x="23" y="83"/>
              </a:cxn>
              <a:cxn ang="0">
                <a:pos x="117" y="83"/>
              </a:cxn>
              <a:cxn ang="0">
                <a:pos x="140" y="61"/>
              </a:cxn>
              <a:cxn ang="0">
                <a:pos x="117" y="38"/>
              </a:cxn>
              <a:cxn ang="0">
                <a:pos x="68" y="65"/>
              </a:cxn>
              <a:cxn ang="0">
                <a:pos x="49" y="65"/>
              </a:cxn>
              <a:cxn ang="0">
                <a:pos x="50" y="67"/>
              </a:cxn>
              <a:cxn ang="0">
                <a:pos x="50" y="70"/>
              </a:cxn>
              <a:cxn ang="0">
                <a:pos x="49" y="73"/>
              </a:cxn>
              <a:cxn ang="0">
                <a:pos x="43" y="72"/>
              </a:cxn>
              <a:cxn ang="0">
                <a:pos x="24" y="58"/>
              </a:cxn>
              <a:cxn ang="0">
                <a:pos x="43" y="43"/>
              </a:cxn>
              <a:cxn ang="0">
                <a:pos x="49" y="42"/>
              </a:cxn>
              <a:cxn ang="0">
                <a:pos x="50" y="46"/>
              </a:cxn>
              <a:cxn ang="0">
                <a:pos x="50" y="48"/>
              </a:cxn>
              <a:cxn ang="0">
                <a:pos x="49" y="50"/>
              </a:cxn>
              <a:cxn ang="0">
                <a:pos x="68" y="50"/>
              </a:cxn>
              <a:cxn ang="0">
                <a:pos x="68" y="65"/>
              </a:cxn>
              <a:cxn ang="0">
                <a:pos x="84" y="60"/>
              </a:cxn>
              <a:cxn ang="0">
                <a:pos x="78" y="61"/>
              </a:cxn>
              <a:cxn ang="0">
                <a:pos x="77" y="58"/>
              </a:cxn>
              <a:cxn ang="0">
                <a:pos x="77" y="56"/>
              </a:cxn>
              <a:cxn ang="0">
                <a:pos x="78" y="50"/>
              </a:cxn>
              <a:cxn ang="0">
                <a:pos x="80" y="50"/>
              </a:cxn>
              <a:cxn ang="0">
                <a:pos x="82" y="50"/>
              </a:cxn>
              <a:cxn ang="0">
                <a:pos x="80" y="57"/>
              </a:cxn>
              <a:cxn ang="0">
                <a:pos x="82" y="58"/>
              </a:cxn>
              <a:cxn ang="0">
                <a:pos x="98" y="46"/>
              </a:cxn>
              <a:cxn ang="0">
                <a:pos x="82" y="35"/>
              </a:cxn>
              <a:cxn ang="0">
                <a:pos x="80" y="36"/>
              </a:cxn>
              <a:cxn ang="0">
                <a:pos x="82" y="42"/>
              </a:cxn>
              <a:cxn ang="0">
                <a:pos x="59" y="42"/>
              </a:cxn>
              <a:cxn ang="0">
                <a:pos x="59" y="39"/>
              </a:cxn>
              <a:cxn ang="0">
                <a:pos x="78" y="39"/>
              </a:cxn>
              <a:cxn ang="0">
                <a:pos x="77" y="36"/>
              </a:cxn>
              <a:cxn ang="0">
                <a:pos x="77" y="34"/>
              </a:cxn>
              <a:cxn ang="0">
                <a:pos x="78" y="31"/>
              </a:cxn>
              <a:cxn ang="0">
                <a:pos x="84" y="32"/>
              </a:cxn>
              <a:cxn ang="0">
                <a:pos x="103" y="46"/>
              </a:cxn>
              <a:cxn ang="0">
                <a:pos x="84" y="60"/>
              </a:cxn>
            </a:cxnLst>
            <a:rect l="0" t="0" r="r" b="b"/>
            <a:pathLst>
              <a:path w="140" h="83">
                <a:moveTo>
                  <a:pt x="117" y="38"/>
                </a:moveTo>
                <a:cubicBezTo>
                  <a:pt x="117" y="38"/>
                  <a:pt x="117" y="38"/>
                  <a:pt x="117" y="38"/>
                </a:cubicBezTo>
                <a:cubicBezTo>
                  <a:pt x="117" y="28"/>
                  <a:pt x="109" y="20"/>
                  <a:pt x="99" y="20"/>
                </a:cubicBezTo>
                <a:cubicBezTo>
                  <a:pt x="96" y="20"/>
                  <a:pt x="93" y="21"/>
                  <a:pt x="91" y="22"/>
                </a:cubicBezTo>
                <a:cubicBezTo>
                  <a:pt x="85" y="9"/>
                  <a:pt x="73" y="0"/>
                  <a:pt x="58" y="0"/>
                </a:cubicBezTo>
                <a:cubicBezTo>
                  <a:pt x="38" y="0"/>
                  <a:pt x="22" y="16"/>
                  <a:pt x="22" y="36"/>
                </a:cubicBezTo>
                <a:cubicBezTo>
                  <a:pt x="22" y="37"/>
                  <a:pt x="22" y="37"/>
                  <a:pt x="22" y="38"/>
                </a:cubicBezTo>
                <a:cubicBezTo>
                  <a:pt x="10" y="38"/>
                  <a:pt x="0" y="48"/>
                  <a:pt x="0" y="61"/>
                </a:cubicBezTo>
                <a:cubicBezTo>
                  <a:pt x="0" y="73"/>
                  <a:pt x="10" y="83"/>
                  <a:pt x="23" y="83"/>
                </a:cubicBezTo>
                <a:cubicBezTo>
                  <a:pt x="117" y="83"/>
                  <a:pt x="117" y="83"/>
                  <a:pt x="117" y="83"/>
                </a:cubicBezTo>
                <a:cubicBezTo>
                  <a:pt x="129" y="83"/>
                  <a:pt x="140" y="73"/>
                  <a:pt x="140" y="61"/>
                </a:cubicBezTo>
                <a:cubicBezTo>
                  <a:pt x="140" y="48"/>
                  <a:pt x="130" y="38"/>
                  <a:pt x="117" y="38"/>
                </a:cubicBezTo>
                <a:close/>
                <a:moveTo>
                  <a:pt x="68" y="65"/>
                </a:moveTo>
                <a:cubicBezTo>
                  <a:pt x="68" y="65"/>
                  <a:pt x="53" y="65"/>
                  <a:pt x="49" y="65"/>
                </a:cubicBezTo>
                <a:cubicBezTo>
                  <a:pt x="50" y="66"/>
                  <a:pt x="50" y="67"/>
                  <a:pt x="50" y="67"/>
                </a:cubicBezTo>
                <a:cubicBezTo>
                  <a:pt x="50" y="68"/>
                  <a:pt x="50" y="69"/>
                  <a:pt x="50" y="70"/>
                </a:cubicBezTo>
                <a:cubicBezTo>
                  <a:pt x="50" y="71"/>
                  <a:pt x="50" y="72"/>
                  <a:pt x="49" y="73"/>
                </a:cubicBezTo>
                <a:cubicBezTo>
                  <a:pt x="48" y="73"/>
                  <a:pt x="46" y="74"/>
                  <a:pt x="43" y="72"/>
                </a:cubicBezTo>
                <a:cubicBezTo>
                  <a:pt x="24" y="58"/>
                  <a:pt x="24" y="58"/>
                  <a:pt x="24" y="58"/>
                </a:cubicBezTo>
                <a:cubicBezTo>
                  <a:pt x="43" y="43"/>
                  <a:pt x="43" y="43"/>
                  <a:pt x="43" y="43"/>
                </a:cubicBezTo>
                <a:cubicBezTo>
                  <a:pt x="46" y="41"/>
                  <a:pt x="48" y="42"/>
                  <a:pt x="49" y="42"/>
                </a:cubicBezTo>
                <a:cubicBezTo>
                  <a:pt x="50" y="43"/>
                  <a:pt x="50" y="44"/>
                  <a:pt x="50" y="46"/>
                </a:cubicBezTo>
                <a:cubicBezTo>
                  <a:pt x="50" y="46"/>
                  <a:pt x="50" y="47"/>
                  <a:pt x="50" y="48"/>
                </a:cubicBezTo>
                <a:cubicBezTo>
                  <a:pt x="50" y="48"/>
                  <a:pt x="50" y="49"/>
                  <a:pt x="49" y="50"/>
                </a:cubicBezTo>
                <a:cubicBezTo>
                  <a:pt x="53" y="50"/>
                  <a:pt x="68" y="50"/>
                  <a:pt x="68" y="50"/>
                </a:cubicBezTo>
                <a:lnTo>
                  <a:pt x="68" y="65"/>
                </a:lnTo>
                <a:close/>
                <a:moveTo>
                  <a:pt x="84" y="60"/>
                </a:moveTo>
                <a:cubicBezTo>
                  <a:pt x="81" y="62"/>
                  <a:pt x="79" y="62"/>
                  <a:pt x="78" y="61"/>
                </a:cubicBezTo>
                <a:cubicBezTo>
                  <a:pt x="77" y="61"/>
                  <a:pt x="77" y="60"/>
                  <a:pt x="77" y="58"/>
                </a:cubicBezTo>
                <a:cubicBezTo>
                  <a:pt x="77" y="58"/>
                  <a:pt x="77" y="57"/>
                  <a:pt x="77" y="56"/>
                </a:cubicBezTo>
                <a:cubicBezTo>
                  <a:pt x="78" y="50"/>
                  <a:pt x="78" y="50"/>
                  <a:pt x="78" y="50"/>
                </a:cubicBezTo>
                <a:cubicBezTo>
                  <a:pt x="79" y="50"/>
                  <a:pt x="80" y="50"/>
                  <a:pt x="80" y="50"/>
                </a:cubicBezTo>
                <a:cubicBezTo>
                  <a:pt x="82" y="50"/>
                  <a:pt x="82" y="50"/>
                  <a:pt x="82" y="50"/>
                </a:cubicBezTo>
                <a:cubicBezTo>
                  <a:pt x="80" y="57"/>
                  <a:pt x="80" y="57"/>
                  <a:pt x="80" y="57"/>
                </a:cubicBezTo>
                <a:cubicBezTo>
                  <a:pt x="80" y="58"/>
                  <a:pt x="80" y="59"/>
                  <a:pt x="82" y="58"/>
                </a:cubicBezTo>
                <a:cubicBezTo>
                  <a:pt x="82" y="58"/>
                  <a:pt x="95" y="48"/>
                  <a:pt x="98" y="46"/>
                </a:cubicBezTo>
                <a:cubicBezTo>
                  <a:pt x="95" y="44"/>
                  <a:pt x="82" y="35"/>
                  <a:pt x="82" y="35"/>
                </a:cubicBezTo>
                <a:cubicBezTo>
                  <a:pt x="80" y="34"/>
                  <a:pt x="80" y="34"/>
                  <a:pt x="80" y="36"/>
                </a:cubicBezTo>
                <a:cubicBezTo>
                  <a:pt x="82" y="42"/>
                  <a:pt x="82" y="42"/>
                  <a:pt x="82" y="42"/>
                </a:cubicBezTo>
                <a:cubicBezTo>
                  <a:pt x="59" y="42"/>
                  <a:pt x="59" y="42"/>
                  <a:pt x="59" y="42"/>
                </a:cubicBezTo>
                <a:cubicBezTo>
                  <a:pt x="59" y="39"/>
                  <a:pt x="59" y="39"/>
                  <a:pt x="59" y="39"/>
                </a:cubicBezTo>
                <a:cubicBezTo>
                  <a:pt x="59" y="39"/>
                  <a:pt x="74" y="39"/>
                  <a:pt x="78" y="39"/>
                </a:cubicBezTo>
                <a:cubicBezTo>
                  <a:pt x="77" y="36"/>
                  <a:pt x="77" y="36"/>
                  <a:pt x="77" y="36"/>
                </a:cubicBezTo>
                <a:cubicBezTo>
                  <a:pt x="77" y="36"/>
                  <a:pt x="77" y="35"/>
                  <a:pt x="77" y="34"/>
                </a:cubicBezTo>
                <a:cubicBezTo>
                  <a:pt x="77" y="32"/>
                  <a:pt x="77" y="32"/>
                  <a:pt x="78" y="31"/>
                </a:cubicBezTo>
                <a:cubicBezTo>
                  <a:pt x="79" y="30"/>
                  <a:pt x="81" y="30"/>
                  <a:pt x="84" y="32"/>
                </a:cubicBezTo>
                <a:cubicBezTo>
                  <a:pt x="103" y="46"/>
                  <a:pt x="103" y="46"/>
                  <a:pt x="103" y="46"/>
                </a:cubicBezTo>
                <a:lnTo>
                  <a:pt x="84" y="60"/>
                </a:lnTo>
                <a:close/>
              </a:path>
            </a:pathLst>
          </a:custGeom>
          <a:solidFill>
            <a:srgbClr val="42518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20"/>
          <p:cNvSpPr>
            <a:spLocks noEditPoints="1"/>
          </p:cNvSpPr>
          <p:nvPr/>
        </p:nvSpPr>
        <p:spPr bwMode="auto">
          <a:xfrm>
            <a:off x="607144" y="2751781"/>
            <a:ext cx="966788" cy="1244600"/>
          </a:xfrm>
          <a:custGeom>
            <a:avLst/>
            <a:gdLst/>
            <a:ahLst/>
            <a:cxnLst>
              <a:cxn ang="0">
                <a:pos x="25" y="95"/>
              </a:cxn>
              <a:cxn ang="0">
                <a:pos x="24" y="90"/>
              </a:cxn>
              <a:cxn ang="0">
                <a:pos x="20" y="20"/>
              </a:cxn>
              <a:cxn ang="0">
                <a:pos x="87" y="20"/>
              </a:cxn>
              <a:cxn ang="0">
                <a:pos x="83" y="90"/>
              </a:cxn>
              <a:cxn ang="0">
                <a:pos x="85" y="96"/>
              </a:cxn>
              <a:cxn ang="0">
                <a:pos x="108" y="54"/>
              </a:cxn>
              <a:cxn ang="0">
                <a:pos x="0" y="54"/>
              </a:cxn>
              <a:cxn ang="0">
                <a:pos x="76" y="76"/>
              </a:cxn>
              <a:cxn ang="0">
                <a:pos x="88" y="54"/>
              </a:cxn>
              <a:cxn ang="0">
                <a:pos x="19" y="54"/>
              </a:cxn>
              <a:cxn ang="0">
                <a:pos x="30" y="77"/>
              </a:cxn>
              <a:cxn ang="0">
                <a:pos x="32" y="71"/>
              </a:cxn>
              <a:cxn ang="0">
                <a:pos x="26" y="54"/>
              </a:cxn>
              <a:cxn ang="0">
                <a:pos x="82" y="54"/>
              </a:cxn>
              <a:cxn ang="0">
                <a:pos x="76" y="76"/>
              </a:cxn>
              <a:cxn ang="0">
                <a:pos x="35" y="110"/>
              </a:cxn>
              <a:cxn ang="0">
                <a:pos x="44" y="104"/>
              </a:cxn>
              <a:cxn ang="0">
                <a:pos x="36" y="98"/>
              </a:cxn>
              <a:cxn ang="0">
                <a:pos x="33" y="98"/>
              </a:cxn>
              <a:cxn ang="0">
                <a:pos x="99" y="133"/>
              </a:cxn>
              <a:cxn ang="0">
                <a:pos x="88" y="133"/>
              </a:cxn>
              <a:cxn ang="0">
                <a:pos x="68" y="54"/>
              </a:cxn>
              <a:cxn ang="0">
                <a:pos x="39" y="54"/>
              </a:cxn>
              <a:cxn ang="0">
                <a:pos x="36" y="91"/>
              </a:cxn>
              <a:cxn ang="0">
                <a:pos x="51" y="70"/>
              </a:cxn>
              <a:cxn ang="0">
                <a:pos x="27" y="133"/>
              </a:cxn>
              <a:cxn ang="0">
                <a:pos x="44" y="123"/>
              </a:cxn>
              <a:cxn ang="0">
                <a:pos x="30" y="116"/>
              </a:cxn>
              <a:cxn ang="0">
                <a:pos x="26" y="116"/>
              </a:cxn>
              <a:cxn ang="0">
                <a:pos x="20" y="133"/>
              </a:cxn>
              <a:cxn ang="0">
                <a:pos x="6" y="136"/>
              </a:cxn>
              <a:cxn ang="0">
                <a:pos x="99" y="139"/>
              </a:cxn>
              <a:cxn ang="0">
                <a:pos x="99" y="133"/>
              </a:cxn>
              <a:cxn ang="0">
                <a:pos x="68" y="98"/>
              </a:cxn>
              <a:cxn ang="0">
                <a:pos x="57" y="70"/>
              </a:cxn>
              <a:cxn ang="0">
                <a:pos x="70" y="104"/>
              </a:cxn>
              <a:cxn ang="0">
                <a:pos x="57" y="116"/>
              </a:cxn>
              <a:cxn ang="0">
                <a:pos x="57" y="133"/>
              </a:cxn>
              <a:cxn ang="0">
                <a:pos x="77" y="123"/>
              </a:cxn>
              <a:cxn ang="0">
                <a:pos x="57" y="133"/>
              </a:cxn>
            </a:cxnLst>
            <a:rect l="0" t="0" r="r" b="b"/>
            <a:pathLst>
              <a:path w="108" h="139">
                <a:moveTo>
                  <a:pt x="20" y="96"/>
                </a:moveTo>
                <a:cubicBezTo>
                  <a:pt x="22" y="97"/>
                  <a:pt x="24" y="97"/>
                  <a:pt x="25" y="95"/>
                </a:cubicBezTo>
                <a:cubicBezTo>
                  <a:pt x="26" y="94"/>
                  <a:pt x="26" y="92"/>
                  <a:pt x="24" y="90"/>
                </a:cubicBezTo>
                <a:cubicBezTo>
                  <a:pt x="24" y="90"/>
                  <a:pt x="24" y="90"/>
                  <a:pt x="24" y="90"/>
                </a:cubicBezTo>
                <a:cubicBezTo>
                  <a:pt x="14" y="82"/>
                  <a:pt x="7" y="69"/>
                  <a:pt x="7" y="54"/>
                </a:cubicBezTo>
                <a:cubicBezTo>
                  <a:pt x="7" y="41"/>
                  <a:pt x="12" y="29"/>
                  <a:pt x="20" y="20"/>
                </a:cubicBezTo>
                <a:cubicBezTo>
                  <a:pt x="29" y="12"/>
                  <a:pt x="41" y="6"/>
                  <a:pt x="54" y="6"/>
                </a:cubicBezTo>
                <a:cubicBezTo>
                  <a:pt x="67" y="6"/>
                  <a:pt x="79" y="12"/>
                  <a:pt x="87" y="20"/>
                </a:cubicBezTo>
                <a:cubicBezTo>
                  <a:pt x="96" y="29"/>
                  <a:pt x="101" y="41"/>
                  <a:pt x="101" y="54"/>
                </a:cubicBezTo>
                <a:cubicBezTo>
                  <a:pt x="101" y="69"/>
                  <a:pt x="94" y="82"/>
                  <a:pt x="83" y="90"/>
                </a:cubicBezTo>
                <a:cubicBezTo>
                  <a:pt x="82" y="92"/>
                  <a:pt x="82" y="94"/>
                  <a:pt x="83" y="95"/>
                </a:cubicBezTo>
                <a:cubicBezTo>
                  <a:pt x="83" y="96"/>
                  <a:pt x="84" y="96"/>
                  <a:pt x="85" y="96"/>
                </a:cubicBezTo>
                <a:cubicBezTo>
                  <a:pt x="86" y="96"/>
                  <a:pt x="87" y="96"/>
                  <a:pt x="87" y="96"/>
                </a:cubicBezTo>
                <a:cubicBezTo>
                  <a:pt x="100" y="86"/>
                  <a:pt x="108" y="71"/>
                  <a:pt x="108" y="54"/>
                </a:cubicBezTo>
                <a:cubicBezTo>
                  <a:pt x="108" y="24"/>
                  <a:pt x="84" y="0"/>
                  <a:pt x="54" y="0"/>
                </a:cubicBezTo>
                <a:cubicBezTo>
                  <a:pt x="24" y="0"/>
                  <a:pt x="0" y="24"/>
                  <a:pt x="0" y="54"/>
                </a:cubicBezTo>
                <a:cubicBezTo>
                  <a:pt x="0" y="71"/>
                  <a:pt x="8" y="86"/>
                  <a:pt x="20" y="96"/>
                </a:cubicBezTo>
                <a:close/>
                <a:moveTo>
                  <a:pt x="76" y="76"/>
                </a:moveTo>
                <a:cubicBezTo>
                  <a:pt x="77" y="77"/>
                  <a:pt x="79" y="77"/>
                  <a:pt x="80" y="75"/>
                </a:cubicBezTo>
                <a:cubicBezTo>
                  <a:pt x="85" y="69"/>
                  <a:pt x="88" y="62"/>
                  <a:pt x="88" y="54"/>
                </a:cubicBezTo>
                <a:cubicBezTo>
                  <a:pt x="88" y="35"/>
                  <a:pt x="73" y="19"/>
                  <a:pt x="54" y="19"/>
                </a:cubicBezTo>
                <a:cubicBezTo>
                  <a:pt x="35" y="19"/>
                  <a:pt x="19" y="35"/>
                  <a:pt x="19" y="54"/>
                </a:cubicBezTo>
                <a:cubicBezTo>
                  <a:pt x="19" y="62"/>
                  <a:pt x="22" y="70"/>
                  <a:pt x="27" y="76"/>
                </a:cubicBezTo>
                <a:cubicBezTo>
                  <a:pt x="28" y="76"/>
                  <a:pt x="29" y="77"/>
                  <a:pt x="30" y="77"/>
                </a:cubicBezTo>
                <a:cubicBezTo>
                  <a:pt x="31" y="77"/>
                  <a:pt x="31" y="77"/>
                  <a:pt x="32" y="76"/>
                </a:cubicBezTo>
                <a:cubicBezTo>
                  <a:pt x="33" y="75"/>
                  <a:pt x="34" y="73"/>
                  <a:pt x="32" y="71"/>
                </a:cubicBezTo>
                <a:cubicBezTo>
                  <a:pt x="32" y="71"/>
                  <a:pt x="32" y="71"/>
                  <a:pt x="32" y="71"/>
                </a:cubicBezTo>
                <a:cubicBezTo>
                  <a:pt x="29" y="67"/>
                  <a:pt x="26" y="60"/>
                  <a:pt x="26" y="54"/>
                </a:cubicBezTo>
                <a:cubicBezTo>
                  <a:pt x="26" y="38"/>
                  <a:pt x="39" y="26"/>
                  <a:pt x="54" y="26"/>
                </a:cubicBezTo>
                <a:cubicBezTo>
                  <a:pt x="69" y="26"/>
                  <a:pt x="82" y="38"/>
                  <a:pt x="82" y="54"/>
                </a:cubicBezTo>
                <a:cubicBezTo>
                  <a:pt x="82" y="60"/>
                  <a:pt x="79" y="66"/>
                  <a:pt x="75" y="71"/>
                </a:cubicBezTo>
                <a:cubicBezTo>
                  <a:pt x="74" y="73"/>
                  <a:pt x="74" y="75"/>
                  <a:pt x="76" y="76"/>
                </a:cubicBezTo>
                <a:close/>
                <a:moveTo>
                  <a:pt x="29" y="110"/>
                </a:moveTo>
                <a:cubicBezTo>
                  <a:pt x="35" y="110"/>
                  <a:pt x="35" y="110"/>
                  <a:pt x="35" y="110"/>
                </a:cubicBezTo>
                <a:cubicBezTo>
                  <a:pt x="38" y="104"/>
                  <a:pt x="38" y="104"/>
                  <a:pt x="38" y="104"/>
                </a:cubicBezTo>
                <a:cubicBezTo>
                  <a:pt x="44" y="104"/>
                  <a:pt x="44" y="104"/>
                  <a:pt x="44" y="104"/>
                </a:cubicBezTo>
                <a:cubicBezTo>
                  <a:pt x="44" y="98"/>
                  <a:pt x="44" y="98"/>
                  <a:pt x="44" y="98"/>
                </a:cubicBezTo>
                <a:cubicBezTo>
                  <a:pt x="36" y="98"/>
                  <a:pt x="36" y="98"/>
                  <a:pt x="36" y="98"/>
                </a:cubicBezTo>
                <a:cubicBezTo>
                  <a:pt x="36" y="98"/>
                  <a:pt x="36" y="98"/>
                  <a:pt x="36" y="98"/>
                </a:cubicBezTo>
                <a:cubicBezTo>
                  <a:pt x="33" y="98"/>
                  <a:pt x="33" y="98"/>
                  <a:pt x="33" y="98"/>
                </a:cubicBezTo>
                <a:lnTo>
                  <a:pt x="29" y="110"/>
                </a:lnTo>
                <a:close/>
                <a:moveTo>
                  <a:pt x="99" y="133"/>
                </a:moveTo>
                <a:cubicBezTo>
                  <a:pt x="88" y="133"/>
                  <a:pt x="88" y="133"/>
                  <a:pt x="88" y="133"/>
                </a:cubicBezTo>
                <a:cubicBezTo>
                  <a:pt x="88" y="133"/>
                  <a:pt x="88" y="133"/>
                  <a:pt x="88" y="133"/>
                </a:cubicBezTo>
                <a:cubicBezTo>
                  <a:pt x="62" y="65"/>
                  <a:pt x="62" y="65"/>
                  <a:pt x="62" y="65"/>
                </a:cubicBezTo>
                <a:cubicBezTo>
                  <a:pt x="66" y="63"/>
                  <a:pt x="68" y="59"/>
                  <a:pt x="68" y="54"/>
                </a:cubicBezTo>
                <a:cubicBezTo>
                  <a:pt x="68" y="46"/>
                  <a:pt x="62" y="39"/>
                  <a:pt x="54" y="39"/>
                </a:cubicBezTo>
                <a:cubicBezTo>
                  <a:pt x="46" y="39"/>
                  <a:pt x="39" y="46"/>
                  <a:pt x="39" y="54"/>
                </a:cubicBezTo>
                <a:cubicBezTo>
                  <a:pt x="39" y="59"/>
                  <a:pt x="42" y="63"/>
                  <a:pt x="45" y="65"/>
                </a:cubicBezTo>
                <a:cubicBezTo>
                  <a:pt x="36" y="91"/>
                  <a:pt x="36" y="91"/>
                  <a:pt x="36" y="91"/>
                </a:cubicBezTo>
                <a:cubicBezTo>
                  <a:pt x="43" y="91"/>
                  <a:pt x="43" y="91"/>
                  <a:pt x="43" y="91"/>
                </a:cubicBezTo>
                <a:cubicBezTo>
                  <a:pt x="51" y="70"/>
                  <a:pt x="51" y="70"/>
                  <a:pt x="51" y="70"/>
                </a:cubicBezTo>
                <a:cubicBezTo>
                  <a:pt x="51" y="133"/>
                  <a:pt x="51" y="133"/>
                  <a:pt x="51" y="133"/>
                </a:cubicBezTo>
                <a:cubicBezTo>
                  <a:pt x="27" y="133"/>
                  <a:pt x="27" y="133"/>
                  <a:pt x="27" y="133"/>
                </a:cubicBezTo>
                <a:cubicBezTo>
                  <a:pt x="31" y="123"/>
                  <a:pt x="31" y="123"/>
                  <a:pt x="31" y="123"/>
                </a:cubicBezTo>
                <a:cubicBezTo>
                  <a:pt x="44" y="123"/>
                  <a:pt x="44" y="123"/>
                  <a:pt x="44" y="123"/>
                </a:cubicBezTo>
                <a:cubicBezTo>
                  <a:pt x="44" y="116"/>
                  <a:pt x="44" y="116"/>
                  <a:pt x="44" y="116"/>
                </a:cubicBezTo>
                <a:cubicBezTo>
                  <a:pt x="30" y="116"/>
                  <a:pt x="30" y="116"/>
                  <a:pt x="30" y="116"/>
                </a:cubicBezTo>
                <a:cubicBezTo>
                  <a:pt x="30" y="116"/>
                  <a:pt x="30" y="116"/>
                  <a:pt x="30" y="116"/>
                </a:cubicBezTo>
                <a:cubicBezTo>
                  <a:pt x="26" y="116"/>
                  <a:pt x="26" y="116"/>
                  <a:pt x="26" y="116"/>
                </a:cubicBezTo>
                <a:cubicBezTo>
                  <a:pt x="20" y="133"/>
                  <a:pt x="20" y="133"/>
                  <a:pt x="20" y="133"/>
                </a:cubicBezTo>
                <a:cubicBezTo>
                  <a:pt x="20" y="133"/>
                  <a:pt x="20" y="133"/>
                  <a:pt x="20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3"/>
                  <a:pt x="6" y="134"/>
                  <a:pt x="6" y="136"/>
                </a:cubicBezTo>
                <a:cubicBezTo>
                  <a:pt x="6" y="138"/>
                  <a:pt x="7" y="139"/>
                  <a:pt x="9" y="139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39"/>
                  <a:pt x="102" y="138"/>
                  <a:pt x="102" y="136"/>
                </a:cubicBezTo>
                <a:cubicBezTo>
                  <a:pt x="102" y="134"/>
                  <a:pt x="101" y="133"/>
                  <a:pt x="99" y="133"/>
                </a:cubicBezTo>
                <a:close/>
                <a:moveTo>
                  <a:pt x="57" y="70"/>
                </a:moveTo>
                <a:cubicBezTo>
                  <a:pt x="68" y="98"/>
                  <a:pt x="68" y="98"/>
                  <a:pt x="68" y="98"/>
                </a:cubicBezTo>
                <a:cubicBezTo>
                  <a:pt x="57" y="98"/>
                  <a:pt x="57" y="98"/>
                  <a:pt x="57" y="98"/>
                </a:cubicBezTo>
                <a:lnTo>
                  <a:pt x="57" y="70"/>
                </a:lnTo>
                <a:close/>
                <a:moveTo>
                  <a:pt x="57" y="104"/>
                </a:moveTo>
                <a:cubicBezTo>
                  <a:pt x="70" y="104"/>
                  <a:pt x="70" y="104"/>
                  <a:pt x="70" y="104"/>
                </a:cubicBezTo>
                <a:cubicBezTo>
                  <a:pt x="75" y="116"/>
                  <a:pt x="75" y="116"/>
                  <a:pt x="75" y="116"/>
                </a:cubicBezTo>
                <a:cubicBezTo>
                  <a:pt x="57" y="116"/>
                  <a:pt x="57" y="116"/>
                  <a:pt x="57" y="116"/>
                </a:cubicBezTo>
                <a:lnTo>
                  <a:pt x="57" y="104"/>
                </a:lnTo>
                <a:close/>
                <a:moveTo>
                  <a:pt x="57" y="133"/>
                </a:moveTo>
                <a:cubicBezTo>
                  <a:pt x="57" y="123"/>
                  <a:pt x="57" y="123"/>
                  <a:pt x="57" y="123"/>
                </a:cubicBezTo>
                <a:cubicBezTo>
                  <a:pt x="77" y="123"/>
                  <a:pt x="77" y="123"/>
                  <a:pt x="77" y="123"/>
                </a:cubicBezTo>
                <a:cubicBezTo>
                  <a:pt x="81" y="133"/>
                  <a:pt x="81" y="133"/>
                  <a:pt x="81" y="133"/>
                </a:cubicBezTo>
                <a:lnTo>
                  <a:pt x="57" y="133"/>
                </a:lnTo>
                <a:close/>
              </a:path>
            </a:pathLst>
          </a:custGeom>
          <a:solidFill>
            <a:srgbClr val="42518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39"/>
          <p:cNvSpPr>
            <a:spLocks noEditPoints="1"/>
          </p:cNvSpPr>
          <p:nvPr/>
        </p:nvSpPr>
        <p:spPr bwMode="auto">
          <a:xfrm>
            <a:off x="562769" y="1182111"/>
            <a:ext cx="1163638" cy="1030288"/>
          </a:xfrm>
          <a:custGeom>
            <a:avLst/>
            <a:gdLst/>
            <a:ahLst/>
            <a:cxnLst>
              <a:cxn ang="0">
                <a:pos x="81" y="46"/>
              </a:cxn>
              <a:cxn ang="0">
                <a:pos x="70" y="52"/>
              </a:cxn>
              <a:cxn ang="0">
                <a:pos x="62" y="52"/>
              </a:cxn>
              <a:cxn ang="0">
                <a:pos x="62" y="0"/>
              </a:cxn>
              <a:cxn ang="0">
                <a:pos x="14" y="55"/>
              </a:cxn>
              <a:cxn ang="0">
                <a:pos x="9" y="56"/>
              </a:cxn>
              <a:cxn ang="0">
                <a:pos x="11" y="42"/>
              </a:cxn>
              <a:cxn ang="0">
                <a:pos x="4" y="42"/>
              </a:cxn>
              <a:cxn ang="0">
                <a:pos x="0" y="45"/>
              </a:cxn>
              <a:cxn ang="0">
                <a:pos x="0" y="69"/>
              </a:cxn>
              <a:cxn ang="0">
                <a:pos x="4" y="73"/>
              </a:cxn>
              <a:cxn ang="0">
                <a:pos x="16" y="73"/>
              </a:cxn>
              <a:cxn ang="0">
                <a:pos x="62" y="115"/>
              </a:cxn>
              <a:cxn ang="0">
                <a:pos x="62" y="62"/>
              </a:cxn>
              <a:cxn ang="0">
                <a:pos x="70" y="62"/>
              </a:cxn>
              <a:cxn ang="0">
                <a:pos x="81" y="69"/>
              </a:cxn>
              <a:cxn ang="0">
                <a:pos x="93" y="57"/>
              </a:cxn>
              <a:cxn ang="0">
                <a:pos x="81" y="46"/>
              </a:cxn>
              <a:cxn ang="0">
                <a:pos x="47" y="46"/>
              </a:cxn>
              <a:cxn ang="0">
                <a:pos x="44" y="43"/>
              </a:cxn>
              <a:cxn ang="0">
                <a:pos x="44" y="21"/>
              </a:cxn>
              <a:cxn ang="0">
                <a:pos x="47" y="19"/>
              </a:cxn>
              <a:cxn ang="0">
                <a:pos x="49" y="21"/>
              </a:cxn>
              <a:cxn ang="0">
                <a:pos x="49" y="43"/>
              </a:cxn>
              <a:cxn ang="0">
                <a:pos x="47" y="46"/>
              </a:cxn>
              <a:cxn ang="0">
                <a:pos x="110" y="10"/>
              </a:cxn>
              <a:cxn ang="0">
                <a:pos x="105" y="10"/>
              </a:cxn>
              <a:cxn ang="0">
                <a:pos x="105" y="15"/>
              </a:cxn>
              <a:cxn ang="0">
                <a:pos x="123" y="58"/>
              </a:cxn>
              <a:cxn ang="0">
                <a:pos x="105" y="100"/>
              </a:cxn>
              <a:cxn ang="0">
                <a:pos x="105" y="105"/>
              </a:cxn>
              <a:cxn ang="0">
                <a:pos x="108" y="106"/>
              </a:cxn>
              <a:cxn ang="0">
                <a:pos x="110" y="105"/>
              </a:cxn>
              <a:cxn ang="0">
                <a:pos x="130" y="58"/>
              </a:cxn>
              <a:cxn ang="0">
                <a:pos x="110" y="10"/>
              </a:cxn>
              <a:cxn ang="0">
                <a:pos x="97" y="23"/>
              </a:cxn>
              <a:cxn ang="0">
                <a:pos x="92" y="23"/>
              </a:cxn>
              <a:cxn ang="0">
                <a:pos x="92" y="28"/>
              </a:cxn>
              <a:cxn ang="0">
                <a:pos x="104" y="57"/>
              </a:cxn>
              <a:cxn ang="0">
                <a:pos x="92" y="87"/>
              </a:cxn>
              <a:cxn ang="0">
                <a:pos x="92" y="92"/>
              </a:cxn>
              <a:cxn ang="0">
                <a:pos x="95" y="93"/>
              </a:cxn>
              <a:cxn ang="0">
                <a:pos x="97" y="92"/>
              </a:cxn>
              <a:cxn ang="0">
                <a:pos x="112" y="57"/>
              </a:cxn>
              <a:cxn ang="0">
                <a:pos x="97" y="23"/>
              </a:cxn>
            </a:cxnLst>
            <a:rect l="0" t="0" r="r" b="b"/>
            <a:pathLst>
              <a:path w="130" h="115">
                <a:moveTo>
                  <a:pt x="81" y="46"/>
                </a:moveTo>
                <a:cubicBezTo>
                  <a:pt x="76" y="46"/>
                  <a:pt x="72" y="48"/>
                  <a:pt x="70" y="52"/>
                </a:cubicBezTo>
                <a:cubicBezTo>
                  <a:pt x="62" y="52"/>
                  <a:pt x="62" y="52"/>
                  <a:pt x="62" y="52"/>
                </a:cubicBezTo>
                <a:cubicBezTo>
                  <a:pt x="62" y="0"/>
                  <a:pt x="62" y="0"/>
                  <a:pt x="62" y="0"/>
                </a:cubicBezTo>
                <a:cubicBezTo>
                  <a:pt x="35" y="5"/>
                  <a:pt x="15" y="27"/>
                  <a:pt x="14" y="55"/>
                </a:cubicBezTo>
                <a:cubicBezTo>
                  <a:pt x="13" y="58"/>
                  <a:pt x="9" y="58"/>
                  <a:pt x="9" y="56"/>
                </a:cubicBezTo>
                <a:cubicBezTo>
                  <a:pt x="10" y="51"/>
                  <a:pt x="10" y="46"/>
                  <a:pt x="11" y="42"/>
                </a:cubicBezTo>
                <a:cubicBezTo>
                  <a:pt x="4" y="42"/>
                  <a:pt x="4" y="42"/>
                  <a:pt x="4" y="42"/>
                </a:cubicBezTo>
                <a:cubicBezTo>
                  <a:pt x="2" y="42"/>
                  <a:pt x="0" y="43"/>
                  <a:pt x="0" y="45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71"/>
                  <a:pt x="2" y="73"/>
                  <a:pt x="4" y="73"/>
                </a:cubicBezTo>
                <a:cubicBezTo>
                  <a:pt x="16" y="73"/>
                  <a:pt x="16" y="73"/>
                  <a:pt x="16" y="73"/>
                </a:cubicBezTo>
                <a:cubicBezTo>
                  <a:pt x="21" y="94"/>
                  <a:pt x="39" y="111"/>
                  <a:pt x="62" y="115"/>
                </a:cubicBezTo>
                <a:cubicBezTo>
                  <a:pt x="62" y="62"/>
                  <a:pt x="62" y="62"/>
                  <a:pt x="62" y="62"/>
                </a:cubicBezTo>
                <a:cubicBezTo>
                  <a:pt x="70" y="62"/>
                  <a:pt x="70" y="62"/>
                  <a:pt x="70" y="62"/>
                </a:cubicBezTo>
                <a:cubicBezTo>
                  <a:pt x="72" y="66"/>
                  <a:pt x="76" y="69"/>
                  <a:pt x="81" y="69"/>
                </a:cubicBezTo>
                <a:cubicBezTo>
                  <a:pt x="87" y="69"/>
                  <a:pt x="93" y="64"/>
                  <a:pt x="93" y="57"/>
                </a:cubicBezTo>
                <a:cubicBezTo>
                  <a:pt x="93" y="51"/>
                  <a:pt x="87" y="46"/>
                  <a:pt x="81" y="46"/>
                </a:cubicBezTo>
                <a:close/>
                <a:moveTo>
                  <a:pt x="47" y="46"/>
                </a:moveTo>
                <a:cubicBezTo>
                  <a:pt x="46" y="46"/>
                  <a:pt x="44" y="45"/>
                  <a:pt x="44" y="43"/>
                </a:cubicBezTo>
                <a:cubicBezTo>
                  <a:pt x="44" y="21"/>
                  <a:pt x="44" y="21"/>
                  <a:pt x="44" y="21"/>
                </a:cubicBezTo>
                <a:cubicBezTo>
                  <a:pt x="44" y="20"/>
                  <a:pt x="46" y="19"/>
                  <a:pt x="47" y="19"/>
                </a:cubicBezTo>
                <a:cubicBezTo>
                  <a:pt x="48" y="19"/>
                  <a:pt x="49" y="20"/>
                  <a:pt x="49" y="21"/>
                </a:cubicBezTo>
                <a:cubicBezTo>
                  <a:pt x="49" y="43"/>
                  <a:pt x="49" y="43"/>
                  <a:pt x="49" y="43"/>
                </a:cubicBezTo>
                <a:cubicBezTo>
                  <a:pt x="49" y="45"/>
                  <a:pt x="48" y="46"/>
                  <a:pt x="47" y="46"/>
                </a:cubicBezTo>
                <a:close/>
                <a:moveTo>
                  <a:pt x="110" y="10"/>
                </a:moveTo>
                <a:cubicBezTo>
                  <a:pt x="109" y="8"/>
                  <a:pt x="107" y="8"/>
                  <a:pt x="105" y="10"/>
                </a:cubicBezTo>
                <a:cubicBezTo>
                  <a:pt x="104" y="11"/>
                  <a:pt x="104" y="14"/>
                  <a:pt x="105" y="15"/>
                </a:cubicBezTo>
                <a:cubicBezTo>
                  <a:pt x="117" y="27"/>
                  <a:pt x="123" y="42"/>
                  <a:pt x="123" y="58"/>
                </a:cubicBezTo>
                <a:cubicBezTo>
                  <a:pt x="123" y="73"/>
                  <a:pt x="117" y="88"/>
                  <a:pt x="105" y="100"/>
                </a:cubicBezTo>
                <a:cubicBezTo>
                  <a:pt x="104" y="101"/>
                  <a:pt x="104" y="103"/>
                  <a:pt x="105" y="105"/>
                </a:cubicBezTo>
                <a:cubicBezTo>
                  <a:pt x="106" y="106"/>
                  <a:pt x="107" y="106"/>
                  <a:pt x="108" y="106"/>
                </a:cubicBezTo>
                <a:cubicBezTo>
                  <a:pt x="109" y="106"/>
                  <a:pt x="110" y="106"/>
                  <a:pt x="110" y="105"/>
                </a:cubicBezTo>
                <a:cubicBezTo>
                  <a:pt x="123" y="92"/>
                  <a:pt x="130" y="75"/>
                  <a:pt x="130" y="58"/>
                </a:cubicBezTo>
                <a:cubicBezTo>
                  <a:pt x="130" y="40"/>
                  <a:pt x="123" y="23"/>
                  <a:pt x="110" y="10"/>
                </a:cubicBezTo>
                <a:close/>
                <a:moveTo>
                  <a:pt x="97" y="23"/>
                </a:moveTo>
                <a:cubicBezTo>
                  <a:pt x="96" y="21"/>
                  <a:pt x="94" y="21"/>
                  <a:pt x="92" y="23"/>
                </a:cubicBezTo>
                <a:cubicBezTo>
                  <a:pt x="91" y="24"/>
                  <a:pt x="91" y="27"/>
                  <a:pt x="92" y="28"/>
                </a:cubicBezTo>
                <a:cubicBezTo>
                  <a:pt x="100" y="36"/>
                  <a:pt x="104" y="47"/>
                  <a:pt x="104" y="57"/>
                </a:cubicBezTo>
                <a:cubicBezTo>
                  <a:pt x="104" y="68"/>
                  <a:pt x="100" y="79"/>
                  <a:pt x="92" y="87"/>
                </a:cubicBezTo>
                <a:cubicBezTo>
                  <a:pt x="91" y="88"/>
                  <a:pt x="91" y="91"/>
                  <a:pt x="92" y="92"/>
                </a:cubicBezTo>
                <a:cubicBezTo>
                  <a:pt x="93" y="93"/>
                  <a:pt x="94" y="93"/>
                  <a:pt x="95" y="93"/>
                </a:cubicBezTo>
                <a:cubicBezTo>
                  <a:pt x="96" y="93"/>
                  <a:pt x="97" y="93"/>
                  <a:pt x="97" y="92"/>
                </a:cubicBezTo>
                <a:cubicBezTo>
                  <a:pt x="107" y="82"/>
                  <a:pt x="112" y="70"/>
                  <a:pt x="112" y="57"/>
                </a:cubicBezTo>
                <a:cubicBezTo>
                  <a:pt x="112" y="45"/>
                  <a:pt x="107" y="32"/>
                  <a:pt x="97" y="23"/>
                </a:cubicBezTo>
                <a:close/>
              </a:path>
            </a:pathLst>
          </a:custGeom>
          <a:solidFill>
            <a:srgbClr val="42518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56"/>
          <p:cNvSpPr>
            <a:spLocks/>
          </p:cNvSpPr>
          <p:nvPr/>
        </p:nvSpPr>
        <p:spPr bwMode="auto">
          <a:xfrm>
            <a:off x="4103582" y="2232049"/>
            <a:ext cx="949535" cy="925798"/>
          </a:xfrm>
          <a:custGeom>
            <a:avLst/>
            <a:gdLst/>
            <a:ahLst/>
            <a:cxnLst>
              <a:cxn ang="0">
                <a:pos x="38" y="15"/>
              </a:cxn>
              <a:cxn ang="0">
                <a:pos x="38" y="6"/>
              </a:cxn>
              <a:cxn ang="0">
                <a:pos x="37" y="4"/>
              </a:cxn>
              <a:cxn ang="0">
                <a:pos x="33" y="4"/>
              </a:cxn>
              <a:cxn ang="0">
                <a:pos x="31" y="6"/>
              </a:cxn>
              <a:cxn ang="0">
                <a:pos x="31" y="8"/>
              </a:cxn>
              <a:cxn ang="0">
                <a:pos x="24" y="1"/>
              </a:cxn>
              <a:cxn ang="0">
                <a:pos x="23" y="0"/>
              </a:cxn>
              <a:cxn ang="0">
                <a:pos x="21" y="1"/>
              </a:cxn>
              <a:cxn ang="0">
                <a:pos x="1" y="21"/>
              </a:cxn>
              <a:cxn ang="0">
                <a:pos x="3" y="24"/>
              </a:cxn>
              <a:cxn ang="0">
                <a:pos x="7" y="24"/>
              </a:cxn>
              <a:cxn ang="0">
                <a:pos x="7" y="42"/>
              </a:cxn>
              <a:cxn ang="0">
                <a:pos x="9" y="44"/>
              </a:cxn>
              <a:cxn ang="0">
                <a:pos x="15" y="44"/>
              </a:cxn>
              <a:cxn ang="0">
                <a:pos x="18" y="42"/>
              </a:cxn>
              <a:cxn ang="0">
                <a:pos x="18" y="29"/>
              </a:cxn>
              <a:cxn ang="0">
                <a:pos x="20" y="27"/>
              </a:cxn>
              <a:cxn ang="0">
                <a:pos x="26" y="27"/>
              </a:cxn>
              <a:cxn ang="0">
                <a:pos x="28" y="29"/>
              </a:cxn>
              <a:cxn ang="0">
                <a:pos x="28" y="42"/>
              </a:cxn>
              <a:cxn ang="0">
                <a:pos x="30" y="44"/>
              </a:cxn>
              <a:cxn ang="0">
                <a:pos x="37" y="44"/>
              </a:cxn>
              <a:cxn ang="0">
                <a:pos x="39" y="42"/>
              </a:cxn>
              <a:cxn ang="0">
                <a:pos x="39" y="24"/>
              </a:cxn>
              <a:cxn ang="0">
                <a:pos x="42" y="24"/>
              </a:cxn>
              <a:cxn ang="0">
                <a:pos x="44" y="21"/>
              </a:cxn>
              <a:cxn ang="0">
                <a:pos x="38" y="15"/>
              </a:cxn>
            </a:cxnLst>
            <a:rect l="0" t="0" r="r" b="b"/>
            <a:pathLst>
              <a:path w="45" h="44">
                <a:moveTo>
                  <a:pt x="38" y="15"/>
                </a:moveTo>
                <a:cubicBezTo>
                  <a:pt x="38" y="6"/>
                  <a:pt x="38" y="6"/>
                  <a:pt x="38" y="6"/>
                </a:cubicBezTo>
                <a:cubicBezTo>
                  <a:pt x="38" y="5"/>
                  <a:pt x="38" y="4"/>
                  <a:pt x="37" y="4"/>
                </a:cubicBezTo>
                <a:cubicBezTo>
                  <a:pt x="33" y="4"/>
                  <a:pt x="33" y="4"/>
                  <a:pt x="33" y="4"/>
                </a:cubicBezTo>
                <a:cubicBezTo>
                  <a:pt x="32" y="4"/>
                  <a:pt x="31" y="5"/>
                  <a:pt x="31" y="6"/>
                </a:cubicBezTo>
                <a:cubicBezTo>
                  <a:pt x="31" y="8"/>
                  <a:pt x="31" y="8"/>
                  <a:pt x="31" y="8"/>
                </a:cubicBezTo>
                <a:cubicBezTo>
                  <a:pt x="24" y="1"/>
                  <a:pt x="24" y="1"/>
                  <a:pt x="24" y="1"/>
                </a:cubicBezTo>
                <a:cubicBezTo>
                  <a:pt x="24" y="0"/>
                  <a:pt x="23" y="0"/>
                  <a:pt x="23" y="0"/>
                </a:cubicBezTo>
                <a:cubicBezTo>
                  <a:pt x="22" y="0"/>
                  <a:pt x="21" y="0"/>
                  <a:pt x="21" y="1"/>
                </a:cubicBezTo>
                <a:cubicBezTo>
                  <a:pt x="1" y="21"/>
                  <a:pt x="1" y="21"/>
                  <a:pt x="1" y="21"/>
                </a:cubicBezTo>
                <a:cubicBezTo>
                  <a:pt x="0" y="22"/>
                  <a:pt x="0" y="24"/>
                  <a:pt x="3" y="24"/>
                </a:cubicBezTo>
                <a:cubicBezTo>
                  <a:pt x="7" y="24"/>
                  <a:pt x="7" y="24"/>
                  <a:pt x="7" y="24"/>
                </a:cubicBezTo>
                <a:cubicBezTo>
                  <a:pt x="7" y="42"/>
                  <a:pt x="7" y="42"/>
                  <a:pt x="7" y="42"/>
                </a:cubicBezTo>
                <a:cubicBezTo>
                  <a:pt x="7" y="43"/>
                  <a:pt x="7" y="44"/>
                  <a:pt x="9" y="44"/>
                </a:cubicBezTo>
                <a:cubicBezTo>
                  <a:pt x="15" y="44"/>
                  <a:pt x="15" y="44"/>
                  <a:pt x="15" y="44"/>
                </a:cubicBezTo>
                <a:cubicBezTo>
                  <a:pt x="17" y="44"/>
                  <a:pt x="18" y="43"/>
                  <a:pt x="18" y="42"/>
                </a:cubicBezTo>
                <a:cubicBezTo>
                  <a:pt x="18" y="29"/>
                  <a:pt x="18" y="29"/>
                  <a:pt x="18" y="29"/>
                </a:cubicBezTo>
                <a:cubicBezTo>
                  <a:pt x="18" y="28"/>
                  <a:pt x="19" y="27"/>
                  <a:pt x="20" y="27"/>
                </a:cubicBezTo>
                <a:cubicBezTo>
                  <a:pt x="26" y="27"/>
                  <a:pt x="26" y="27"/>
                  <a:pt x="26" y="27"/>
                </a:cubicBezTo>
                <a:cubicBezTo>
                  <a:pt x="27" y="27"/>
                  <a:pt x="28" y="28"/>
                  <a:pt x="28" y="29"/>
                </a:cubicBezTo>
                <a:cubicBezTo>
                  <a:pt x="28" y="42"/>
                  <a:pt x="28" y="42"/>
                  <a:pt x="28" y="42"/>
                </a:cubicBezTo>
                <a:cubicBezTo>
                  <a:pt x="28" y="43"/>
                  <a:pt x="29" y="44"/>
                  <a:pt x="30" y="44"/>
                </a:cubicBezTo>
                <a:cubicBezTo>
                  <a:pt x="37" y="44"/>
                  <a:pt x="37" y="44"/>
                  <a:pt x="37" y="44"/>
                </a:cubicBezTo>
                <a:cubicBezTo>
                  <a:pt x="38" y="44"/>
                  <a:pt x="39" y="43"/>
                  <a:pt x="39" y="42"/>
                </a:cubicBezTo>
                <a:cubicBezTo>
                  <a:pt x="39" y="24"/>
                  <a:pt x="39" y="24"/>
                  <a:pt x="39" y="24"/>
                </a:cubicBezTo>
                <a:cubicBezTo>
                  <a:pt x="42" y="24"/>
                  <a:pt x="42" y="24"/>
                  <a:pt x="42" y="24"/>
                </a:cubicBezTo>
                <a:cubicBezTo>
                  <a:pt x="45" y="24"/>
                  <a:pt x="45" y="22"/>
                  <a:pt x="44" y="21"/>
                </a:cubicBezTo>
                <a:lnTo>
                  <a:pt x="38" y="15"/>
                </a:lnTo>
                <a:close/>
              </a:path>
            </a:pathLst>
          </a:custGeom>
          <a:solidFill>
            <a:srgbClr val="42518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Pentagon 40"/>
          <p:cNvSpPr/>
          <p:nvPr/>
        </p:nvSpPr>
        <p:spPr bwMode="auto">
          <a:xfrm flipH="1">
            <a:off x="5148562" y="1339679"/>
            <a:ext cx="3895426" cy="265814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rgbClr val="4251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6183497" y="1614835"/>
            <a:ext cx="1113206" cy="756458"/>
            <a:chOff x="6123090" y="392113"/>
            <a:chExt cx="1113206" cy="756458"/>
          </a:xfrm>
        </p:grpSpPr>
        <p:sp>
          <p:nvSpPr>
            <p:cNvPr id="43" name="Freeform 67"/>
            <p:cNvSpPr>
              <a:spLocks/>
            </p:cNvSpPr>
            <p:nvPr/>
          </p:nvSpPr>
          <p:spPr bwMode="auto">
            <a:xfrm>
              <a:off x="6971069" y="524727"/>
              <a:ext cx="132614" cy="13261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6" y="4"/>
                </a:cxn>
                <a:cxn ang="0">
                  <a:pos x="8" y="9"/>
                </a:cxn>
                <a:cxn ang="0">
                  <a:pos x="9" y="10"/>
                </a:cxn>
                <a:cxn ang="0">
                  <a:pos x="10" y="9"/>
                </a:cxn>
                <a:cxn ang="0">
                  <a:pos x="7" y="2"/>
                </a:cxn>
                <a:cxn ang="0">
                  <a:pos x="1" y="0"/>
                </a:cxn>
              </a:cxnLst>
              <a:rect l="0" t="0" r="r" b="b"/>
              <a:pathLst>
                <a:path w="10" h="10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3" y="2"/>
                    <a:pt x="5" y="3"/>
                    <a:pt x="6" y="4"/>
                  </a:cubicBezTo>
                  <a:cubicBezTo>
                    <a:pt x="7" y="5"/>
                    <a:pt x="8" y="7"/>
                    <a:pt x="8" y="9"/>
                  </a:cubicBezTo>
                  <a:cubicBezTo>
                    <a:pt x="8" y="9"/>
                    <a:pt x="8" y="10"/>
                    <a:pt x="9" y="10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6"/>
                    <a:pt x="9" y="4"/>
                    <a:pt x="7" y="2"/>
                  </a:cubicBezTo>
                  <a:cubicBezTo>
                    <a:pt x="6" y="1"/>
                    <a:pt x="4" y="0"/>
                    <a:pt x="1" y="0"/>
                  </a:cubicBezTo>
                  <a:close/>
                </a:path>
              </a:pathLst>
            </a:custGeom>
            <a:solidFill>
              <a:srgbClr val="425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68"/>
            <p:cNvSpPr>
              <a:spLocks/>
            </p:cNvSpPr>
            <p:nvPr/>
          </p:nvSpPr>
          <p:spPr bwMode="auto">
            <a:xfrm>
              <a:off x="6971069" y="459354"/>
              <a:ext cx="199855" cy="19798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13" y="14"/>
                </a:cxn>
                <a:cxn ang="0">
                  <a:pos x="14" y="15"/>
                </a:cxn>
                <a:cxn ang="0">
                  <a:pos x="15" y="14"/>
                </a:cxn>
                <a:cxn ang="0">
                  <a:pos x="1" y="0"/>
                </a:cxn>
              </a:cxnLst>
              <a:rect l="0" t="0" r="r" b="b"/>
              <a:pathLst>
                <a:path w="15" h="15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7" y="2"/>
                    <a:pt x="13" y="7"/>
                    <a:pt x="13" y="14"/>
                  </a:cubicBezTo>
                  <a:cubicBezTo>
                    <a:pt x="13" y="14"/>
                    <a:pt x="13" y="15"/>
                    <a:pt x="14" y="15"/>
                  </a:cubicBezTo>
                  <a:cubicBezTo>
                    <a:pt x="14" y="15"/>
                    <a:pt x="15" y="14"/>
                    <a:pt x="15" y="14"/>
                  </a:cubicBezTo>
                  <a:cubicBezTo>
                    <a:pt x="15" y="6"/>
                    <a:pt x="9" y="0"/>
                    <a:pt x="1" y="0"/>
                  </a:cubicBezTo>
                  <a:close/>
                </a:path>
              </a:pathLst>
            </a:custGeom>
            <a:solidFill>
              <a:srgbClr val="425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69"/>
            <p:cNvSpPr>
              <a:spLocks/>
            </p:cNvSpPr>
            <p:nvPr/>
          </p:nvSpPr>
          <p:spPr bwMode="auto">
            <a:xfrm>
              <a:off x="6971069" y="392113"/>
              <a:ext cx="265227" cy="26522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17" y="19"/>
                </a:cxn>
                <a:cxn ang="0">
                  <a:pos x="18" y="20"/>
                </a:cxn>
                <a:cxn ang="0">
                  <a:pos x="20" y="19"/>
                </a:cxn>
                <a:cxn ang="0">
                  <a:pos x="1" y="0"/>
                </a:cxn>
              </a:cxnLst>
              <a:rect l="0" t="0" r="r" b="b"/>
              <a:pathLst>
                <a:path w="20" h="20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0" y="3"/>
                    <a:pt x="17" y="10"/>
                    <a:pt x="17" y="19"/>
                  </a:cubicBezTo>
                  <a:cubicBezTo>
                    <a:pt x="17" y="19"/>
                    <a:pt x="18" y="20"/>
                    <a:pt x="18" y="20"/>
                  </a:cubicBezTo>
                  <a:cubicBezTo>
                    <a:pt x="19" y="20"/>
                    <a:pt x="20" y="19"/>
                    <a:pt x="20" y="19"/>
                  </a:cubicBezTo>
                  <a:cubicBezTo>
                    <a:pt x="20" y="9"/>
                    <a:pt x="11" y="0"/>
                    <a:pt x="1" y="0"/>
                  </a:cubicBezTo>
                  <a:close/>
                </a:path>
              </a:pathLst>
            </a:custGeom>
            <a:solidFill>
              <a:srgbClr val="425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70"/>
            <p:cNvSpPr>
              <a:spLocks noEditPoints="1"/>
            </p:cNvSpPr>
            <p:nvPr/>
          </p:nvSpPr>
          <p:spPr bwMode="auto">
            <a:xfrm>
              <a:off x="6123090" y="498578"/>
              <a:ext cx="915220" cy="649993"/>
            </a:xfrm>
            <a:custGeom>
              <a:avLst/>
              <a:gdLst/>
              <a:ahLst/>
              <a:cxnLst>
                <a:cxn ang="0">
                  <a:pos x="66" y="8"/>
                </a:cxn>
                <a:cxn ang="0">
                  <a:pos x="39" y="8"/>
                </a:cxn>
                <a:cxn ang="0">
                  <a:pos x="38" y="7"/>
                </a:cxn>
                <a:cxn ang="0">
                  <a:pos x="42" y="4"/>
                </a:cxn>
                <a:cxn ang="0">
                  <a:pos x="42" y="4"/>
                </a:cxn>
                <a:cxn ang="0">
                  <a:pos x="43" y="3"/>
                </a:cxn>
                <a:cxn ang="0">
                  <a:pos x="41" y="3"/>
                </a:cxn>
                <a:cxn ang="0">
                  <a:pos x="41" y="3"/>
                </a:cxn>
                <a:cxn ang="0">
                  <a:pos x="36" y="6"/>
                </a:cxn>
                <a:cxn ang="0">
                  <a:pos x="35" y="6"/>
                </a:cxn>
                <a:cxn ang="0">
                  <a:pos x="32" y="1"/>
                </a:cxn>
                <a:cxn ang="0">
                  <a:pos x="32" y="1"/>
                </a:cxn>
                <a:cxn ang="0">
                  <a:pos x="31" y="0"/>
                </a:cxn>
                <a:cxn ang="0">
                  <a:pos x="31" y="2"/>
                </a:cxn>
                <a:cxn ang="0">
                  <a:pos x="31" y="2"/>
                </a:cxn>
                <a:cxn ang="0">
                  <a:pos x="34" y="6"/>
                </a:cxn>
                <a:cxn ang="0">
                  <a:pos x="31" y="8"/>
                </a:cxn>
                <a:cxn ang="0">
                  <a:pos x="3" y="8"/>
                </a:cxn>
                <a:cxn ang="0">
                  <a:pos x="0" y="11"/>
                </a:cxn>
                <a:cxn ang="0">
                  <a:pos x="0" y="44"/>
                </a:cxn>
                <a:cxn ang="0">
                  <a:pos x="3" y="46"/>
                </a:cxn>
                <a:cxn ang="0">
                  <a:pos x="30" y="46"/>
                </a:cxn>
                <a:cxn ang="0">
                  <a:pos x="18" y="49"/>
                </a:cxn>
                <a:cxn ang="0">
                  <a:pos x="51" y="49"/>
                </a:cxn>
                <a:cxn ang="0">
                  <a:pos x="39" y="46"/>
                </a:cxn>
                <a:cxn ang="0">
                  <a:pos x="66" y="46"/>
                </a:cxn>
                <a:cxn ang="0">
                  <a:pos x="69" y="44"/>
                </a:cxn>
                <a:cxn ang="0">
                  <a:pos x="69" y="11"/>
                </a:cxn>
                <a:cxn ang="0">
                  <a:pos x="66" y="8"/>
                </a:cxn>
                <a:cxn ang="0">
                  <a:pos x="63" y="42"/>
                </a:cxn>
                <a:cxn ang="0">
                  <a:pos x="6" y="42"/>
                </a:cxn>
                <a:cxn ang="0">
                  <a:pos x="6" y="12"/>
                </a:cxn>
                <a:cxn ang="0">
                  <a:pos x="63" y="12"/>
                </a:cxn>
                <a:cxn ang="0">
                  <a:pos x="63" y="42"/>
                </a:cxn>
                <a:cxn ang="0">
                  <a:pos x="66" y="42"/>
                </a:cxn>
                <a:cxn ang="0">
                  <a:pos x="65" y="41"/>
                </a:cxn>
                <a:cxn ang="0">
                  <a:pos x="66" y="40"/>
                </a:cxn>
                <a:cxn ang="0">
                  <a:pos x="67" y="41"/>
                </a:cxn>
                <a:cxn ang="0">
                  <a:pos x="66" y="42"/>
                </a:cxn>
                <a:cxn ang="0">
                  <a:pos x="66" y="38"/>
                </a:cxn>
                <a:cxn ang="0">
                  <a:pos x="65" y="36"/>
                </a:cxn>
                <a:cxn ang="0">
                  <a:pos x="66" y="35"/>
                </a:cxn>
                <a:cxn ang="0">
                  <a:pos x="67" y="36"/>
                </a:cxn>
                <a:cxn ang="0">
                  <a:pos x="66" y="38"/>
                </a:cxn>
              </a:cxnLst>
              <a:rect l="0" t="0" r="r" b="b"/>
              <a:pathLst>
                <a:path w="69" h="49">
                  <a:moveTo>
                    <a:pt x="66" y="8"/>
                  </a:moveTo>
                  <a:cubicBezTo>
                    <a:pt x="39" y="8"/>
                    <a:pt x="39" y="8"/>
                    <a:pt x="39" y="8"/>
                  </a:cubicBezTo>
                  <a:cubicBezTo>
                    <a:pt x="39" y="7"/>
                    <a:pt x="38" y="7"/>
                    <a:pt x="38" y="7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4"/>
                    <a:pt x="43" y="3"/>
                    <a:pt x="43" y="3"/>
                  </a:cubicBezTo>
                  <a:cubicBezTo>
                    <a:pt x="42" y="2"/>
                    <a:pt x="42" y="2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5" y="6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1"/>
                    <a:pt x="30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6"/>
                    <a:pt x="31" y="7"/>
                    <a:pt x="31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0" y="9"/>
                    <a:pt x="0" y="11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2" y="46"/>
                    <a:pt x="3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23" y="47"/>
                    <a:pt x="18" y="48"/>
                    <a:pt x="18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8"/>
                    <a:pt x="46" y="47"/>
                    <a:pt x="39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8" y="46"/>
                    <a:pt x="69" y="45"/>
                    <a:pt x="69" y="44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9"/>
                    <a:pt x="68" y="8"/>
                    <a:pt x="66" y="8"/>
                  </a:cubicBezTo>
                  <a:close/>
                  <a:moveTo>
                    <a:pt x="63" y="42"/>
                  </a:moveTo>
                  <a:cubicBezTo>
                    <a:pt x="6" y="42"/>
                    <a:pt x="6" y="42"/>
                    <a:pt x="6" y="4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3" y="12"/>
                    <a:pt x="63" y="12"/>
                    <a:pt x="63" y="12"/>
                  </a:cubicBezTo>
                  <a:lnTo>
                    <a:pt x="63" y="42"/>
                  </a:lnTo>
                  <a:close/>
                  <a:moveTo>
                    <a:pt x="66" y="42"/>
                  </a:moveTo>
                  <a:cubicBezTo>
                    <a:pt x="65" y="42"/>
                    <a:pt x="65" y="41"/>
                    <a:pt x="65" y="41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6" y="40"/>
                    <a:pt x="67" y="40"/>
                    <a:pt x="67" y="41"/>
                  </a:cubicBezTo>
                  <a:cubicBezTo>
                    <a:pt x="67" y="41"/>
                    <a:pt x="66" y="42"/>
                    <a:pt x="66" y="42"/>
                  </a:cubicBezTo>
                  <a:close/>
                  <a:moveTo>
                    <a:pt x="66" y="38"/>
                  </a:moveTo>
                  <a:cubicBezTo>
                    <a:pt x="65" y="38"/>
                    <a:pt x="65" y="37"/>
                    <a:pt x="65" y="36"/>
                  </a:cubicBezTo>
                  <a:cubicBezTo>
                    <a:pt x="65" y="36"/>
                    <a:pt x="65" y="35"/>
                    <a:pt x="66" y="35"/>
                  </a:cubicBezTo>
                  <a:cubicBezTo>
                    <a:pt x="66" y="35"/>
                    <a:pt x="67" y="36"/>
                    <a:pt x="67" y="36"/>
                  </a:cubicBezTo>
                  <a:cubicBezTo>
                    <a:pt x="67" y="37"/>
                    <a:pt x="66" y="38"/>
                    <a:pt x="66" y="38"/>
                  </a:cubicBezTo>
                  <a:close/>
                </a:path>
              </a:pathLst>
            </a:custGeom>
            <a:solidFill>
              <a:srgbClr val="425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6" name="Group 67"/>
          <p:cNvGrpSpPr/>
          <p:nvPr/>
        </p:nvGrpSpPr>
        <p:grpSpPr>
          <a:xfrm>
            <a:off x="7825562" y="1745432"/>
            <a:ext cx="761225" cy="630879"/>
            <a:chOff x="3457299" y="5296378"/>
            <a:chExt cx="1236336" cy="1024636"/>
          </a:xfrm>
          <a:solidFill>
            <a:srgbClr val="00B050"/>
          </a:solidFill>
        </p:grpSpPr>
        <p:sp>
          <p:nvSpPr>
            <p:cNvPr id="37" name="Freeform 61"/>
            <p:cNvSpPr>
              <a:spLocks/>
            </p:cNvSpPr>
            <p:nvPr/>
          </p:nvSpPr>
          <p:spPr bwMode="auto">
            <a:xfrm>
              <a:off x="3457299" y="5296378"/>
              <a:ext cx="1236336" cy="819990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83"/>
                </a:cxn>
                <a:cxn ang="0">
                  <a:pos x="21" y="104"/>
                </a:cxn>
                <a:cxn ang="0">
                  <a:pos x="55" y="104"/>
                </a:cxn>
                <a:cxn ang="0">
                  <a:pos x="55" y="94"/>
                </a:cxn>
                <a:cxn ang="0">
                  <a:pos x="21" y="94"/>
                </a:cxn>
                <a:cxn ang="0">
                  <a:pos x="10" y="83"/>
                </a:cxn>
                <a:cxn ang="0">
                  <a:pos x="10" y="20"/>
                </a:cxn>
                <a:cxn ang="0">
                  <a:pos x="21" y="9"/>
                </a:cxn>
                <a:cxn ang="0">
                  <a:pos x="136" y="9"/>
                </a:cxn>
                <a:cxn ang="0">
                  <a:pos x="147" y="20"/>
                </a:cxn>
                <a:cxn ang="0">
                  <a:pos x="147" y="83"/>
                </a:cxn>
                <a:cxn ang="0">
                  <a:pos x="136" y="94"/>
                </a:cxn>
                <a:cxn ang="0">
                  <a:pos x="130" y="94"/>
                </a:cxn>
                <a:cxn ang="0">
                  <a:pos x="130" y="104"/>
                </a:cxn>
                <a:cxn ang="0">
                  <a:pos x="136" y="104"/>
                </a:cxn>
                <a:cxn ang="0">
                  <a:pos x="157" y="83"/>
                </a:cxn>
                <a:cxn ang="0">
                  <a:pos x="157" y="20"/>
                </a:cxn>
                <a:cxn ang="0">
                  <a:pos x="136" y="0"/>
                </a:cxn>
              </a:cxnLst>
              <a:rect l="0" t="0" r="r" b="b"/>
              <a:pathLst>
                <a:path w="157" h="104">
                  <a:moveTo>
                    <a:pt x="13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5"/>
                    <a:pt x="9" y="104"/>
                    <a:pt x="21" y="104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1"/>
                    <a:pt x="55" y="97"/>
                    <a:pt x="55" y="94"/>
                  </a:cubicBezTo>
                  <a:cubicBezTo>
                    <a:pt x="21" y="94"/>
                    <a:pt x="21" y="94"/>
                    <a:pt x="21" y="94"/>
                  </a:cubicBezTo>
                  <a:cubicBezTo>
                    <a:pt x="15" y="94"/>
                    <a:pt x="10" y="89"/>
                    <a:pt x="10" y="83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14"/>
                    <a:pt x="15" y="9"/>
                    <a:pt x="21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42" y="9"/>
                    <a:pt x="147" y="14"/>
                    <a:pt x="147" y="20"/>
                  </a:cubicBezTo>
                  <a:cubicBezTo>
                    <a:pt x="147" y="83"/>
                    <a:pt x="147" y="83"/>
                    <a:pt x="147" y="83"/>
                  </a:cubicBezTo>
                  <a:cubicBezTo>
                    <a:pt x="147" y="89"/>
                    <a:pt x="142" y="94"/>
                    <a:pt x="136" y="94"/>
                  </a:cubicBezTo>
                  <a:cubicBezTo>
                    <a:pt x="130" y="94"/>
                    <a:pt x="130" y="94"/>
                    <a:pt x="130" y="94"/>
                  </a:cubicBezTo>
                  <a:cubicBezTo>
                    <a:pt x="130" y="98"/>
                    <a:pt x="130" y="101"/>
                    <a:pt x="130" y="104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48" y="104"/>
                    <a:pt x="157" y="95"/>
                    <a:pt x="157" y="83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157" y="9"/>
                    <a:pt x="148" y="0"/>
                    <a:pt x="13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62"/>
            <p:cNvSpPr>
              <a:spLocks/>
            </p:cNvSpPr>
            <p:nvPr/>
          </p:nvSpPr>
          <p:spPr bwMode="auto">
            <a:xfrm>
              <a:off x="4119219" y="5800228"/>
              <a:ext cx="1411" cy="14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3"/>
            <p:cNvSpPr>
              <a:spLocks/>
            </p:cNvSpPr>
            <p:nvPr/>
          </p:nvSpPr>
          <p:spPr bwMode="auto">
            <a:xfrm>
              <a:off x="3921631" y="5540541"/>
              <a:ext cx="527842" cy="780473"/>
            </a:xfrm>
            <a:custGeom>
              <a:avLst/>
              <a:gdLst/>
              <a:ahLst/>
              <a:cxnLst>
                <a:cxn ang="0">
                  <a:pos x="66" y="44"/>
                </a:cxn>
                <a:cxn ang="0">
                  <a:pos x="61" y="38"/>
                </a:cxn>
                <a:cxn ang="0">
                  <a:pos x="55" y="43"/>
                </a:cxn>
                <a:cxn ang="0">
                  <a:pos x="55" y="47"/>
                </a:cxn>
                <a:cxn ang="0">
                  <a:pos x="53" y="46"/>
                </a:cxn>
                <a:cxn ang="0">
                  <a:pos x="53" y="39"/>
                </a:cxn>
                <a:cxn ang="0">
                  <a:pos x="48" y="33"/>
                </a:cxn>
                <a:cxn ang="0">
                  <a:pos x="42" y="38"/>
                </a:cxn>
                <a:cxn ang="0">
                  <a:pos x="42" y="42"/>
                </a:cxn>
                <a:cxn ang="0">
                  <a:pos x="41" y="42"/>
                </a:cxn>
                <a:cxn ang="0">
                  <a:pos x="40" y="33"/>
                </a:cxn>
                <a:cxn ang="0">
                  <a:pos x="35" y="28"/>
                </a:cxn>
                <a:cxn ang="0">
                  <a:pos x="29" y="33"/>
                </a:cxn>
                <a:cxn ang="0">
                  <a:pos x="29" y="41"/>
                </a:cxn>
                <a:cxn ang="0">
                  <a:pos x="27" y="42"/>
                </a:cxn>
                <a:cxn ang="0">
                  <a:pos x="27" y="6"/>
                </a:cxn>
                <a:cxn ang="0">
                  <a:pos x="22" y="1"/>
                </a:cxn>
                <a:cxn ang="0">
                  <a:pos x="16" y="6"/>
                </a:cxn>
                <a:cxn ang="0">
                  <a:pos x="15" y="52"/>
                </a:cxn>
                <a:cxn ang="0">
                  <a:pos x="12" y="56"/>
                </a:cxn>
                <a:cxn ang="0">
                  <a:pos x="12" y="34"/>
                </a:cxn>
                <a:cxn ang="0">
                  <a:pos x="6" y="29"/>
                </a:cxn>
                <a:cxn ang="0">
                  <a:pos x="1" y="35"/>
                </a:cxn>
                <a:cxn ang="0">
                  <a:pos x="1" y="70"/>
                </a:cxn>
                <a:cxn ang="0">
                  <a:pos x="1" y="70"/>
                </a:cxn>
                <a:cxn ang="0">
                  <a:pos x="1" y="70"/>
                </a:cxn>
                <a:cxn ang="0">
                  <a:pos x="30" y="99"/>
                </a:cxn>
                <a:cxn ang="0">
                  <a:pos x="37" y="99"/>
                </a:cxn>
                <a:cxn ang="0">
                  <a:pos x="66" y="70"/>
                </a:cxn>
                <a:cxn ang="0">
                  <a:pos x="66" y="69"/>
                </a:cxn>
                <a:cxn ang="0">
                  <a:pos x="67" y="68"/>
                </a:cxn>
                <a:cxn ang="0">
                  <a:pos x="66" y="44"/>
                </a:cxn>
              </a:cxnLst>
              <a:rect l="0" t="0" r="r" b="b"/>
              <a:pathLst>
                <a:path w="67" h="99">
                  <a:moveTo>
                    <a:pt x="66" y="44"/>
                  </a:moveTo>
                  <a:cubicBezTo>
                    <a:pt x="66" y="41"/>
                    <a:pt x="64" y="38"/>
                    <a:pt x="61" y="38"/>
                  </a:cubicBezTo>
                  <a:cubicBezTo>
                    <a:pt x="58" y="38"/>
                    <a:pt x="55" y="40"/>
                    <a:pt x="55" y="43"/>
                  </a:cubicBezTo>
                  <a:cubicBezTo>
                    <a:pt x="55" y="43"/>
                    <a:pt x="55" y="42"/>
                    <a:pt x="55" y="47"/>
                  </a:cubicBezTo>
                  <a:cubicBezTo>
                    <a:pt x="54" y="47"/>
                    <a:pt x="54" y="46"/>
                    <a:pt x="53" y="46"/>
                  </a:cubicBezTo>
                  <a:cubicBezTo>
                    <a:pt x="53" y="40"/>
                    <a:pt x="53" y="39"/>
                    <a:pt x="53" y="39"/>
                  </a:cubicBezTo>
                  <a:cubicBezTo>
                    <a:pt x="53" y="36"/>
                    <a:pt x="51" y="33"/>
                    <a:pt x="48" y="33"/>
                  </a:cubicBezTo>
                  <a:cubicBezTo>
                    <a:pt x="45" y="33"/>
                    <a:pt x="42" y="35"/>
                    <a:pt x="42" y="38"/>
                  </a:cubicBezTo>
                  <a:cubicBezTo>
                    <a:pt x="42" y="38"/>
                    <a:pt x="42" y="37"/>
                    <a:pt x="42" y="42"/>
                  </a:cubicBezTo>
                  <a:cubicBezTo>
                    <a:pt x="42" y="42"/>
                    <a:pt x="41" y="42"/>
                    <a:pt x="41" y="42"/>
                  </a:cubicBezTo>
                  <a:cubicBezTo>
                    <a:pt x="41" y="35"/>
                    <a:pt x="40" y="33"/>
                    <a:pt x="40" y="33"/>
                  </a:cubicBezTo>
                  <a:cubicBezTo>
                    <a:pt x="41" y="30"/>
                    <a:pt x="38" y="28"/>
                    <a:pt x="35" y="28"/>
                  </a:cubicBezTo>
                  <a:cubicBezTo>
                    <a:pt x="32" y="27"/>
                    <a:pt x="30" y="29"/>
                    <a:pt x="29" y="33"/>
                  </a:cubicBezTo>
                  <a:cubicBezTo>
                    <a:pt x="29" y="33"/>
                    <a:pt x="29" y="34"/>
                    <a:pt x="29" y="41"/>
                  </a:cubicBezTo>
                  <a:cubicBezTo>
                    <a:pt x="29" y="41"/>
                    <a:pt x="28" y="42"/>
                    <a:pt x="27" y="42"/>
                  </a:cubicBezTo>
                  <a:cubicBezTo>
                    <a:pt x="27" y="35"/>
                    <a:pt x="27" y="6"/>
                    <a:pt x="27" y="6"/>
                  </a:cubicBezTo>
                  <a:cubicBezTo>
                    <a:pt x="27" y="3"/>
                    <a:pt x="25" y="1"/>
                    <a:pt x="22" y="1"/>
                  </a:cubicBezTo>
                  <a:cubicBezTo>
                    <a:pt x="19" y="0"/>
                    <a:pt x="16" y="2"/>
                    <a:pt x="16" y="6"/>
                  </a:cubicBezTo>
                  <a:cubicBezTo>
                    <a:pt x="16" y="6"/>
                    <a:pt x="16" y="33"/>
                    <a:pt x="15" y="52"/>
                  </a:cubicBezTo>
                  <a:cubicBezTo>
                    <a:pt x="14" y="53"/>
                    <a:pt x="13" y="55"/>
                    <a:pt x="12" y="56"/>
                  </a:cubicBezTo>
                  <a:cubicBezTo>
                    <a:pt x="12" y="48"/>
                    <a:pt x="12" y="34"/>
                    <a:pt x="12" y="34"/>
                  </a:cubicBezTo>
                  <a:cubicBezTo>
                    <a:pt x="11" y="31"/>
                    <a:pt x="9" y="29"/>
                    <a:pt x="6" y="29"/>
                  </a:cubicBezTo>
                  <a:cubicBezTo>
                    <a:pt x="3" y="29"/>
                    <a:pt x="0" y="31"/>
                    <a:pt x="1" y="35"/>
                  </a:cubicBezTo>
                  <a:cubicBezTo>
                    <a:pt x="1" y="35"/>
                    <a:pt x="0" y="66"/>
                    <a:pt x="1" y="70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1" y="70"/>
                  </a:cubicBezTo>
                  <a:cubicBezTo>
                    <a:pt x="1" y="86"/>
                    <a:pt x="14" y="99"/>
                    <a:pt x="30" y="99"/>
                  </a:cubicBezTo>
                  <a:cubicBezTo>
                    <a:pt x="31" y="99"/>
                    <a:pt x="36" y="99"/>
                    <a:pt x="37" y="99"/>
                  </a:cubicBezTo>
                  <a:cubicBezTo>
                    <a:pt x="53" y="99"/>
                    <a:pt x="66" y="86"/>
                    <a:pt x="66" y="70"/>
                  </a:cubicBezTo>
                  <a:cubicBezTo>
                    <a:pt x="66" y="70"/>
                    <a:pt x="66" y="69"/>
                    <a:pt x="66" y="69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6" y="44"/>
                    <a:pt x="66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Freeform 87"/>
          <p:cNvSpPr>
            <a:spLocks noEditPoints="1"/>
          </p:cNvSpPr>
          <p:nvPr/>
        </p:nvSpPr>
        <p:spPr bwMode="auto">
          <a:xfrm>
            <a:off x="8024342" y="2604953"/>
            <a:ext cx="386458" cy="609745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3" y="0"/>
              </a:cxn>
              <a:cxn ang="0">
                <a:pos x="0" y="3"/>
              </a:cxn>
              <a:cxn ang="0">
                <a:pos x="0" y="57"/>
              </a:cxn>
              <a:cxn ang="0">
                <a:pos x="3" y="60"/>
              </a:cxn>
              <a:cxn ang="0">
                <a:pos x="34" y="60"/>
              </a:cxn>
              <a:cxn ang="0">
                <a:pos x="38" y="57"/>
              </a:cxn>
              <a:cxn ang="0">
                <a:pos x="38" y="3"/>
              </a:cxn>
              <a:cxn ang="0">
                <a:pos x="34" y="0"/>
              </a:cxn>
              <a:cxn ang="0">
                <a:pos x="19" y="58"/>
              </a:cxn>
              <a:cxn ang="0">
                <a:pos x="17" y="56"/>
              </a:cxn>
              <a:cxn ang="0">
                <a:pos x="19" y="54"/>
              </a:cxn>
              <a:cxn ang="0">
                <a:pos x="21" y="56"/>
              </a:cxn>
              <a:cxn ang="0">
                <a:pos x="19" y="58"/>
              </a:cxn>
              <a:cxn ang="0">
                <a:pos x="34" y="50"/>
              </a:cxn>
              <a:cxn ang="0">
                <a:pos x="32" y="52"/>
              </a:cxn>
              <a:cxn ang="0">
                <a:pos x="5" y="52"/>
              </a:cxn>
              <a:cxn ang="0">
                <a:pos x="4" y="50"/>
              </a:cxn>
              <a:cxn ang="0">
                <a:pos x="4" y="5"/>
              </a:cxn>
              <a:cxn ang="0">
                <a:pos x="5" y="3"/>
              </a:cxn>
              <a:cxn ang="0">
                <a:pos x="32" y="3"/>
              </a:cxn>
              <a:cxn ang="0">
                <a:pos x="34" y="5"/>
              </a:cxn>
              <a:cxn ang="0">
                <a:pos x="34" y="50"/>
              </a:cxn>
            </a:cxnLst>
            <a:rect l="0" t="0" r="r" b="b"/>
            <a:pathLst>
              <a:path w="38" h="60">
                <a:moveTo>
                  <a:pt x="34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9"/>
                  <a:pt x="1" y="60"/>
                  <a:pt x="3" y="60"/>
                </a:cubicBezTo>
                <a:cubicBezTo>
                  <a:pt x="34" y="60"/>
                  <a:pt x="34" y="60"/>
                  <a:pt x="34" y="60"/>
                </a:cubicBezTo>
                <a:cubicBezTo>
                  <a:pt x="36" y="60"/>
                  <a:pt x="38" y="59"/>
                  <a:pt x="38" y="57"/>
                </a:cubicBezTo>
                <a:cubicBezTo>
                  <a:pt x="38" y="3"/>
                  <a:pt x="38" y="3"/>
                  <a:pt x="38" y="3"/>
                </a:cubicBezTo>
                <a:cubicBezTo>
                  <a:pt x="38" y="1"/>
                  <a:pt x="36" y="0"/>
                  <a:pt x="34" y="0"/>
                </a:cubicBezTo>
                <a:close/>
                <a:moveTo>
                  <a:pt x="19" y="58"/>
                </a:moveTo>
                <a:cubicBezTo>
                  <a:pt x="18" y="58"/>
                  <a:pt x="17" y="57"/>
                  <a:pt x="17" y="56"/>
                </a:cubicBezTo>
                <a:cubicBezTo>
                  <a:pt x="17" y="54"/>
                  <a:pt x="18" y="54"/>
                  <a:pt x="19" y="54"/>
                </a:cubicBezTo>
                <a:cubicBezTo>
                  <a:pt x="20" y="54"/>
                  <a:pt x="21" y="54"/>
                  <a:pt x="21" y="56"/>
                </a:cubicBezTo>
                <a:cubicBezTo>
                  <a:pt x="21" y="57"/>
                  <a:pt x="20" y="58"/>
                  <a:pt x="19" y="58"/>
                </a:cubicBezTo>
                <a:close/>
                <a:moveTo>
                  <a:pt x="34" y="50"/>
                </a:moveTo>
                <a:cubicBezTo>
                  <a:pt x="34" y="51"/>
                  <a:pt x="33" y="52"/>
                  <a:pt x="32" y="52"/>
                </a:cubicBezTo>
                <a:cubicBezTo>
                  <a:pt x="5" y="52"/>
                  <a:pt x="5" y="52"/>
                  <a:pt x="5" y="52"/>
                </a:cubicBezTo>
                <a:cubicBezTo>
                  <a:pt x="5" y="52"/>
                  <a:pt x="4" y="51"/>
                  <a:pt x="4" y="50"/>
                </a:cubicBezTo>
                <a:cubicBezTo>
                  <a:pt x="4" y="5"/>
                  <a:pt x="4" y="5"/>
                  <a:pt x="4" y="5"/>
                </a:cubicBezTo>
                <a:cubicBezTo>
                  <a:pt x="4" y="4"/>
                  <a:pt x="5" y="3"/>
                  <a:pt x="5" y="3"/>
                </a:cubicBezTo>
                <a:cubicBezTo>
                  <a:pt x="32" y="3"/>
                  <a:pt x="32" y="3"/>
                  <a:pt x="32" y="3"/>
                </a:cubicBezTo>
                <a:cubicBezTo>
                  <a:pt x="33" y="3"/>
                  <a:pt x="34" y="4"/>
                  <a:pt x="34" y="5"/>
                </a:cubicBezTo>
                <a:lnTo>
                  <a:pt x="34" y="50"/>
                </a:lnTo>
                <a:close/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0"/>
          <p:cNvSpPr>
            <a:spLocks noEditPoints="1"/>
          </p:cNvSpPr>
          <p:nvPr/>
        </p:nvSpPr>
        <p:spPr bwMode="auto">
          <a:xfrm>
            <a:off x="6285781" y="2541159"/>
            <a:ext cx="717245" cy="568879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10" y="2"/>
              </a:cxn>
              <a:cxn ang="0">
                <a:pos x="10" y="2"/>
              </a:cxn>
              <a:cxn ang="0">
                <a:pos x="15" y="1"/>
              </a:cxn>
              <a:cxn ang="0">
                <a:pos x="16" y="6"/>
              </a:cxn>
              <a:cxn ang="0">
                <a:pos x="7" y="33"/>
              </a:cxn>
              <a:cxn ang="0">
                <a:pos x="16" y="59"/>
              </a:cxn>
              <a:cxn ang="0">
                <a:pos x="15" y="64"/>
              </a:cxn>
              <a:cxn ang="0">
                <a:pos x="13" y="65"/>
              </a:cxn>
              <a:cxn ang="0">
                <a:pos x="89" y="64"/>
              </a:cxn>
              <a:cxn ang="0">
                <a:pos x="91" y="64"/>
              </a:cxn>
              <a:cxn ang="0">
                <a:pos x="93" y="63"/>
              </a:cxn>
              <a:cxn ang="0">
                <a:pos x="103" y="33"/>
              </a:cxn>
              <a:cxn ang="0">
                <a:pos x="93" y="2"/>
              </a:cxn>
              <a:cxn ang="0">
                <a:pos x="89" y="2"/>
              </a:cxn>
              <a:cxn ang="0">
                <a:pos x="88" y="6"/>
              </a:cxn>
              <a:cxn ang="0">
                <a:pos x="96" y="33"/>
              </a:cxn>
              <a:cxn ang="0">
                <a:pos x="88" y="59"/>
              </a:cxn>
              <a:cxn ang="0">
                <a:pos x="23" y="54"/>
              </a:cxn>
              <a:cxn ang="0">
                <a:pos x="26" y="55"/>
              </a:cxn>
              <a:cxn ang="0">
                <a:pos x="28" y="55"/>
              </a:cxn>
              <a:cxn ang="0">
                <a:pos x="29" y="50"/>
              </a:cxn>
              <a:cxn ang="0">
                <a:pos x="23" y="33"/>
              </a:cxn>
              <a:cxn ang="0">
                <a:pos x="29" y="15"/>
              </a:cxn>
              <a:cxn ang="0">
                <a:pos x="28" y="11"/>
              </a:cxn>
              <a:cxn ang="0">
                <a:pos x="23" y="11"/>
              </a:cxn>
              <a:cxn ang="0">
                <a:pos x="16" y="33"/>
              </a:cxn>
              <a:cxn ang="0">
                <a:pos x="76" y="54"/>
              </a:cxn>
              <a:cxn ang="0">
                <a:pos x="78" y="55"/>
              </a:cxn>
              <a:cxn ang="0">
                <a:pos x="80" y="53"/>
              </a:cxn>
              <a:cxn ang="0">
                <a:pos x="87" y="33"/>
              </a:cxn>
              <a:cxn ang="0">
                <a:pos x="80" y="12"/>
              </a:cxn>
              <a:cxn ang="0">
                <a:pos x="76" y="11"/>
              </a:cxn>
              <a:cxn ang="0">
                <a:pos x="75" y="16"/>
              </a:cxn>
              <a:cxn ang="0">
                <a:pos x="80" y="33"/>
              </a:cxn>
              <a:cxn ang="0">
                <a:pos x="75" y="50"/>
              </a:cxn>
              <a:cxn ang="0">
                <a:pos x="76" y="54"/>
              </a:cxn>
              <a:cxn ang="0">
                <a:pos x="52" y="21"/>
              </a:cxn>
              <a:cxn ang="0">
                <a:pos x="49" y="44"/>
              </a:cxn>
              <a:cxn ang="0">
                <a:pos x="52" y="71"/>
              </a:cxn>
              <a:cxn ang="0">
                <a:pos x="55" y="44"/>
              </a:cxn>
              <a:cxn ang="0">
                <a:pos x="150" y="89"/>
              </a:cxn>
              <a:cxn ang="0">
                <a:pos x="140" y="113"/>
              </a:cxn>
              <a:cxn ang="0">
                <a:pos x="128" y="113"/>
              </a:cxn>
              <a:cxn ang="0">
                <a:pos x="28" y="119"/>
              </a:cxn>
              <a:cxn ang="0">
                <a:pos x="11" y="101"/>
              </a:cxn>
              <a:cxn ang="0">
                <a:pos x="23" y="77"/>
              </a:cxn>
              <a:cxn ang="0">
                <a:pos x="150" y="89"/>
              </a:cxn>
              <a:cxn ang="0">
                <a:pos x="136" y="97"/>
              </a:cxn>
              <a:cxn ang="0">
                <a:pos x="136" y="89"/>
              </a:cxn>
              <a:cxn ang="0">
                <a:pos x="119" y="93"/>
              </a:cxn>
            </a:cxnLst>
            <a:rect l="0" t="0" r="r" b="b"/>
            <a:pathLst>
              <a:path w="150" h="119">
                <a:moveTo>
                  <a:pt x="10" y="63"/>
                </a:moveTo>
                <a:cubicBezTo>
                  <a:pt x="4" y="55"/>
                  <a:pt x="0" y="44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21"/>
                  <a:pt x="4" y="10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12" y="0"/>
                  <a:pt x="14" y="0"/>
                  <a:pt x="15" y="1"/>
                </a:cubicBezTo>
                <a:cubicBezTo>
                  <a:pt x="15" y="1"/>
                  <a:pt x="15" y="1"/>
                  <a:pt x="15" y="1"/>
                </a:cubicBezTo>
                <a:cubicBezTo>
                  <a:pt x="17" y="2"/>
                  <a:pt x="17" y="4"/>
                  <a:pt x="16" y="6"/>
                </a:cubicBezTo>
                <a:cubicBezTo>
                  <a:pt x="16" y="6"/>
                  <a:pt x="16" y="6"/>
                  <a:pt x="16" y="6"/>
                </a:cubicBezTo>
                <a:cubicBezTo>
                  <a:pt x="10" y="13"/>
                  <a:pt x="7" y="23"/>
                  <a:pt x="7" y="33"/>
                </a:cubicBezTo>
                <a:cubicBezTo>
                  <a:pt x="7" y="33"/>
                  <a:pt x="7" y="33"/>
                  <a:pt x="7" y="33"/>
                </a:cubicBezTo>
                <a:cubicBezTo>
                  <a:pt x="7" y="43"/>
                  <a:pt x="10" y="52"/>
                  <a:pt x="16" y="59"/>
                </a:cubicBezTo>
                <a:cubicBezTo>
                  <a:pt x="16" y="59"/>
                  <a:pt x="16" y="59"/>
                  <a:pt x="16" y="59"/>
                </a:cubicBezTo>
                <a:cubicBezTo>
                  <a:pt x="17" y="61"/>
                  <a:pt x="17" y="63"/>
                  <a:pt x="15" y="64"/>
                </a:cubicBezTo>
                <a:cubicBezTo>
                  <a:pt x="15" y="64"/>
                  <a:pt x="15" y="64"/>
                  <a:pt x="15" y="64"/>
                </a:cubicBezTo>
                <a:cubicBezTo>
                  <a:pt x="15" y="64"/>
                  <a:pt x="14" y="65"/>
                  <a:pt x="13" y="65"/>
                </a:cubicBezTo>
                <a:cubicBezTo>
                  <a:pt x="13" y="65"/>
                  <a:pt x="13" y="65"/>
                  <a:pt x="13" y="65"/>
                </a:cubicBezTo>
                <a:cubicBezTo>
                  <a:pt x="12" y="65"/>
                  <a:pt x="11" y="64"/>
                  <a:pt x="10" y="63"/>
                </a:cubicBezTo>
                <a:close/>
                <a:moveTo>
                  <a:pt x="89" y="64"/>
                </a:moveTo>
                <a:cubicBezTo>
                  <a:pt x="89" y="64"/>
                  <a:pt x="90" y="64"/>
                  <a:pt x="91" y="64"/>
                </a:cubicBezTo>
                <a:cubicBezTo>
                  <a:pt x="91" y="64"/>
                  <a:pt x="91" y="64"/>
                  <a:pt x="91" y="64"/>
                </a:cubicBezTo>
                <a:cubicBezTo>
                  <a:pt x="92" y="64"/>
                  <a:pt x="93" y="64"/>
                  <a:pt x="93" y="63"/>
                </a:cubicBezTo>
                <a:cubicBezTo>
                  <a:pt x="93" y="63"/>
                  <a:pt x="93" y="63"/>
                  <a:pt x="93" y="63"/>
                </a:cubicBezTo>
                <a:cubicBezTo>
                  <a:pt x="99" y="54"/>
                  <a:pt x="103" y="44"/>
                  <a:pt x="103" y="33"/>
                </a:cubicBezTo>
                <a:cubicBezTo>
                  <a:pt x="103" y="33"/>
                  <a:pt x="103" y="33"/>
                  <a:pt x="103" y="33"/>
                </a:cubicBezTo>
                <a:cubicBezTo>
                  <a:pt x="103" y="21"/>
                  <a:pt x="99" y="11"/>
                  <a:pt x="93" y="2"/>
                </a:cubicBezTo>
                <a:cubicBezTo>
                  <a:pt x="93" y="2"/>
                  <a:pt x="93" y="2"/>
                  <a:pt x="93" y="2"/>
                </a:cubicBezTo>
                <a:cubicBezTo>
                  <a:pt x="92" y="1"/>
                  <a:pt x="90" y="1"/>
                  <a:pt x="89" y="2"/>
                </a:cubicBezTo>
                <a:cubicBezTo>
                  <a:pt x="89" y="2"/>
                  <a:pt x="89" y="2"/>
                  <a:pt x="89" y="2"/>
                </a:cubicBezTo>
                <a:cubicBezTo>
                  <a:pt x="87" y="3"/>
                  <a:pt x="87" y="5"/>
                  <a:pt x="88" y="6"/>
                </a:cubicBezTo>
                <a:cubicBezTo>
                  <a:pt x="88" y="6"/>
                  <a:pt x="88" y="6"/>
                  <a:pt x="88" y="6"/>
                </a:cubicBezTo>
                <a:cubicBezTo>
                  <a:pt x="93" y="14"/>
                  <a:pt x="96" y="23"/>
                  <a:pt x="96" y="33"/>
                </a:cubicBezTo>
                <a:cubicBezTo>
                  <a:pt x="96" y="33"/>
                  <a:pt x="96" y="33"/>
                  <a:pt x="96" y="33"/>
                </a:cubicBezTo>
                <a:cubicBezTo>
                  <a:pt x="96" y="42"/>
                  <a:pt x="93" y="52"/>
                  <a:pt x="88" y="59"/>
                </a:cubicBezTo>
                <a:cubicBezTo>
                  <a:pt x="88" y="59"/>
                  <a:pt x="88" y="59"/>
                  <a:pt x="88" y="59"/>
                </a:cubicBezTo>
                <a:cubicBezTo>
                  <a:pt x="87" y="60"/>
                  <a:pt x="87" y="63"/>
                  <a:pt x="89" y="64"/>
                </a:cubicBezTo>
                <a:close/>
                <a:moveTo>
                  <a:pt x="23" y="54"/>
                </a:moveTo>
                <a:cubicBezTo>
                  <a:pt x="24" y="55"/>
                  <a:pt x="25" y="55"/>
                  <a:pt x="26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7" y="55"/>
                  <a:pt x="28" y="55"/>
                  <a:pt x="28" y="55"/>
                </a:cubicBezTo>
                <a:cubicBezTo>
                  <a:pt x="28" y="55"/>
                  <a:pt x="28" y="55"/>
                  <a:pt x="28" y="55"/>
                </a:cubicBezTo>
                <a:cubicBezTo>
                  <a:pt x="30" y="53"/>
                  <a:pt x="30" y="51"/>
                  <a:pt x="29" y="50"/>
                </a:cubicBezTo>
                <a:cubicBezTo>
                  <a:pt x="29" y="50"/>
                  <a:pt x="29" y="50"/>
                  <a:pt x="29" y="50"/>
                </a:cubicBezTo>
                <a:cubicBezTo>
                  <a:pt x="25" y="45"/>
                  <a:pt x="23" y="39"/>
                  <a:pt x="23" y="33"/>
                </a:cubicBezTo>
                <a:cubicBezTo>
                  <a:pt x="23" y="33"/>
                  <a:pt x="23" y="33"/>
                  <a:pt x="23" y="33"/>
                </a:cubicBezTo>
                <a:cubicBezTo>
                  <a:pt x="23" y="26"/>
                  <a:pt x="25" y="20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30" y="14"/>
                  <a:pt x="30" y="12"/>
                  <a:pt x="28" y="11"/>
                </a:cubicBezTo>
                <a:cubicBezTo>
                  <a:pt x="28" y="11"/>
                  <a:pt x="28" y="11"/>
                  <a:pt x="28" y="11"/>
                </a:cubicBezTo>
                <a:cubicBezTo>
                  <a:pt x="27" y="10"/>
                  <a:pt x="25" y="10"/>
                  <a:pt x="23" y="11"/>
                </a:cubicBezTo>
                <a:cubicBezTo>
                  <a:pt x="23" y="11"/>
                  <a:pt x="23" y="11"/>
                  <a:pt x="23" y="11"/>
                </a:cubicBezTo>
                <a:cubicBezTo>
                  <a:pt x="19" y="17"/>
                  <a:pt x="16" y="25"/>
                  <a:pt x="16" y="33"/>
                </a:cubicBezTo>
                <a:cubicBezTo>
                  <a:pt x="16" y="33"/>
                  <a:pt x="16" y="33"/>
                  <a:pt x="16" y="33"/>
                </a:cubicBezTo>
                <a:cubicBezTo>
                  <a:pt x="16" y="41"/>
                  <a:pt x="19" y="48"/>
                  <a:pt x="23" y="54"/>
                </a:cubicBezTo>
                <a:close/>
                <a:moveTo>
                  <a:pt x="76" y="54"/>
                </a:moveTo>
                <a:cubicBezTo>
                  <a:pt x="76" y="55"/>
                  <a:pt x="77" y="55"/>
                  <a:pt x="78" y="55"/>
                </a:cubicBezTo>
                <a:cubicBezTo>
                  <a:pt x="78" y="55"/>
                  <a:pt x="78" y="55"/>
                  <a:pt x="78" y="55"/>
                </a:cubicBezTo>
                <a:cubicBezTo>
                  <a:pt x="79" y="55"/>
                  <a:pt x="80" y="54"/>
                  <a:pt x="80" y="53"/>
                </a:cubicBezTo>
                <a:cubicBezTo>
                  <a:pt x="80" y="53"/>
                  <a:pt x="80" y="53"/>
                  <a:pt x="80" y="53"/>
                </a:cubicBezTo>
                <a:cubicBezTo>
                  <a:pt x="80" y="53"/>
                  <a:pt x="80" y="53"/>
                  <a:pt x="80" y="53"/>
                </a:cubicBezTo>
                <a:cubicBezTo>
                  <a:pt x="84" y="48"/>
                  <a:pt x="87" y="40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7" y="25"/>
                  <a:pt x="84" y="18"/>
                  <a:pt x="80" y="12"/>
                </a:cubicBezTo>
                <a:cubicBezTo>
                  <a:pt x="80" y="12"/>
                  <a:pt x="80" y="12"/>
                  <a:pt x="80" y="12"/>
                </a:cubicBezTo>
                <a:cubicBezTo>
                  <a:pt x="79" y="10"/>
                  <a:pt x="77" y="10"/>
                  <a:pt x="76" y="11"/>
                </a:cubicBezTo>
                <a:cubicBezTo>
                  <a:pt x="76" y="11"/>
                  <a:pt x="76" y="11"/>
                  <a:pt x="76" y="11"/>
                </a:cubicBezTo>
                <a:cubicBezTo>
                  <a:pt x="74" y="12"/>
                  <a:pt x="74" y="14"/>
                  <a:pt x="75" y="16"/>
                </a:cubicBezTo>
                <a:cubicBezTo>
                  <a:pt x="75" y="16"/>
                  <a:pt x="75" y="16"/>
                  <a:pt x="75" y="16"/>
                </a:cubicBezTo>
                <a:cubicBezTo>
                  <a:pt x="78" y="20"/>
                  <a:pt x="80" y="26"/>
                  <a:pt x="80" y="33"/>
                </a:cubicBezTo>
                <a:cubicBezTo>
                  <a:pt x="80" y="33"/>
                  <a:pt x="80" y="33"/>
                  <a:pt x="80" y="33"/>
                </a:cubicBezTo>
                <a:cubicBezTo>
                  <a:pt x="80" y="39"/>
                  <a:pt x="78" y="45"/>
                  <a:pt x="75" y="50"/>
                </a:cubicBezTo>
                <a:cubicBezTo>
                  <a:pt x="75" y="50"/>
                  <a:pt x="75" y="50"/>
                  <a:pt x="75" y="50"/>
                </a:cubicBezTo>
                <a:cubicBezTo>
                  <a:pt x="74" y="51"/>
                  <a:pt x="74" y="53"/>
                  <a:pt x="76" y="54"/>
                </a:cubicBezTo>
                <a:close/>
                <a:moveTo>
                  <a:pt x="63" y="33"/>
                </a:moveTo>
                <a:cubicBezTo>
                  <a:pt x="63" y="26"/>
                  <a:pt x="58" y="21"/>
                  <a:pt x="52" y="21"/>
                </a:cubicBezTo>
                <a:cubicBezTo>
                  <a:pt x="45" y="21"/>
                  <a:pt x="40" y="26"/>
                  <a:pt x="40" y="33"/>
                </a:cubicBezTo>
                <a:cubicBezTo>
                  <a:pt x="40" y="38"/>
                  <a:pt x="44" y="42"/>
                  <a:pt x="49" y="44"/>
                </a:cubicBezTo>
                <a:cubicBezTo>
                  <a:pt x="49" y="68"/>
                  <a:pt x="49" y="68"/>
                  <a:pt x="49" y="68"/>
                </a:cubicBezTo>
                <a:cubicBezTo>
                  <a:pt x="49" y="70"/>
                  <a:pt x="50" y="71"/>
                  <a:pt x="52" y="71"/>
                </a:cubicBezTo>
                <a:cubicBezTo>
                  <a:pt x="54" y="71"/>
                  <a:pt x="55" y="70"/>
                  <a:pt x="55" y="68"/>
                </a:cubicBezTo>
                <a:cubicBezTo>
                  <a:pt x="55" y="44"/>
                  <a:pt x="55" y="44"/>
                  <a:pt x="55" y="44"/>
                </a:cubicBezTo>
                <a:cubicBezTo>
                  <a:pt x="60" y="42"/>
                  <a:pt x="63" y="38"/>
                  <a:pt x="63" y="33"/>
                </a:cubicBezTo>
                <a:close/>
                <a:moveTo>
                  <a:pt x="150" y="89"/>
                </a:moveTo>
                <a:cubicBezTo>
                  <a:pt x="150" y="101"/>
                  <a:pt x="150" y="101"/>
                  <a:pt x="150" y="101"/>
                </a:cubicBezTo>
                <a:cubicBezTo>
                  <a:pt x="150" y="107"/>
                  <a:pt x="146" y="112"/>
                  <a:pt x="140" y="113"/>
                </a:cubicBezTo>
                <a:cubicBezTo>
                  <a:pt x="140" y="116"/>
                  <a:pt x="137" y="119"/>
                  <a:pt x="134" y="119"/>
                </a:cubicBezTo>
                <a:cubicBezTo>
                  <a:pt x="131" y="119"/>
                  <a:pt x="128" y="116"/>
                  <a:pt x="128" y="113"/>
                </a:cubicBezTo>
                <a:cubicBezTo>
                  <a:pt x="34" y="113"/>
                  <a:pt x="34" y="113"/>
                  <a:pt x="34" y="113"/>
                </a:cubicBezTo>
                <a:cubicBezTo>
                  <a:pt x="34" y="116"/>
                  <a:pt x="31" y="119"/>
                  <a:pt x="28" y="119"/>
                </a:cubicBezTo>
                <a:cubicBezTo>
                  <a:pt x="25" y="119"/>
                  <a:pt x="22" y="116"/>
                  <a:pt x="22" y="113"/>
                </a:cubicBezTo>
                <a:cubicBezTo>
                  <a:pt x="16" y="112"/>
                  <a:pt x="11" y="107"/>
                  <a:pt x="11" y="101"/>
                </a:cubicBezTo>
                <a:cubicBezTo>
                  <a:pt x="11" y="89"/>
                  <a:pt x="11" y="89"/>
                  <a:pt x="11" y="89"/>
                </a:cubicBezTo>
                <a:cubicBezTo>
                  <a:pt x="11" y="83"/>
                  <a:pt x="17" y="77"/>
                  <a:pt x="23" y="77"/>
                </a:cubicBezTo>
                <a:cubicBezTo>
                  <a:pt x="138" y="77"/>
                  <a:pt x="138" y="77"/>
                  <a:pt x="138" y="77"/>
                </a:cubicBezTo>
                <a:cubicBezTo>
                  <a:pt x="145" y="77"/>
                  <a:pt x="150" y="83"/>
                  <a:pt x="150" y="89"/>
                </a:cubicBezTo>
                <a:close/>
                <a:moveTo>
                  <a:pt x="123" y="97"/>
                </a:moveTo>
                <a:cubicBezTo>
                  <a:pt x="136" y="97"/>
                  <a:pt x="136" y="97"/>
                  <a:pt x="136" y="97"/>
                </a:cubicBezTo>
                <a:cubicBezTo>
                  <a:pt x="138" y="97"/>
                  <a:pt x="140" y="95"/>
                  <a:pt x="140" y="93"/>
                </a:cubicBezTo>
                <a:cubicBezTo>
                  <a:pt x="140" y="91"/>
                  <a:pt x="138" y="89"/>
                  <a:pt x="136" y="89"/>
                </a:cubicBezTo>
                <a:cubicBezTo>
                  <a:pt x="123" y="89"/>
                  <a:pt x="123" y="89"/>
                  <a:pt x="123" y="89"/>
                </a:cubicBezTo>
                <a:cubicBezTo>
                  <a:pt x="121" y="89"/>
                  <a:pt x="119" y="91"/>
                  <a:pt x="119" y="93"/>
                </a:cubicBezTo>
                <a:cubicBezTo>
                  <a:pt x="119" y="95"/>
                  <a:pt x="121" y="97"/>
                  <a:pt x="123" y="97"/>
                </a:cubicBezTo>
                <a:close/>
              </a:path>
            </a:pathLst>
          </a:custGeom>
          <a:solidFill>
            <a:srgbClr val="42518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8" name="Group 45"/>
          <p:cNvGrpSpPr/>
          <p:nvPr/>
        </p:nvGrpSpPr>
        <p:grpSpPr>
          <a:xfrm>
            <a:off x="6373489" y="3317335"/>
            <a:ext cx="605627" cy="605627"/>
            <a:chOff x="6558755" y="2186644"/>
            <a:chExt cx="923371" cy="923370"/>
          </a:xfrm>
        </p:grpSpPr>
        <p:sp>
          <p:nvSpPr>
            <p:cNvPr id="19" name="Rectangle 10"/>
            <p:cNvSpPr>
              <a:spLocks noChangeArrowheads="1"/>
            </p:cNvSpPr>
            <p:nvPr/>
          </p:nvSpPr>
          <p:spPr bwMode="auto">
            <a:xfrm>
              <a:off x="6558755" y="2679494"/>
              <a:ext cx="121763" cy="5943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6558755" y="2446115"/>
              <a:ext cx="121763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6809529" y="2981003"/>
              <a:ext cx="69579" cy="129011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6558755" y="2791110"/>
              <a:ext cx="121763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6558755" y="2557731"/>
              <a:ext cx="121763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Rectangle 15"/>
            <p:cNvSpPr>
              <a:spLocks noChangeArrowheads="1"/>
            </p:cNvSpPr>
            <p:nvPr/>
          </p:nvSpPr>
          <p:spPr bwMode="auto">
            <a:xfrm>
              <a:off x="7042909" y="2186644"/>
              <a:ext cx="59432" cy="130460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16"/>
            <p:cNvSpPr>
              <a:spLocks noChangeArrowheads="1"/>
            </p:cNvSpPr>
            <p:nvPr/>
          </p:nvSpPr>
          <p:spPr bwMode="auto">
            <a:xfrm>
              <a:off x="7163222" y="2186644"/>
              <a:ext cx="60882" cy="130460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6929843" y="2186644"/>
              <a:ext cx="60882" cy="130460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6809529" y="2186644"/>
              <a:ext cx="69579" cy="130460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auto">
            <a:xfrm>
              <a:off x="7353115" y="2679494"/>
              <a:ext cx="129011" cy="5943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0"/>
            <p:cNvSpPr>
              <a:spLocks noChangeArrowheads="1"/>
            </p:cNvSpPr>
            <p:nvPr/>
          </p:nvSpPr>
          <p:spPr bwMode="auto">
            <a:xfrm>
              <a:off x="7353115" y="2791110"/>
              <a:ext cx="129011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7353115" y="2557731"/>
              <a:ext cx="129011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/>
            <p:cNvSpPr>
              <a:spLocks noEditPoints="1"/>
            </p:cNvSpPr>
            <p:nvPr/>
          </p:nvSpPr>
          <p:spPr bwMode="auto">
            <a:xfrm>
              <a:off x="6731253" y="2367839"/>
              <a:ext cx="569677" cy="560980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8" y="0"/>
                </a:cxn>
                <a:cxn ang="0">
                  <a:pos x="0" y="8"/>
                </a:cxn>
                <a:cxn ang="0">
                  <a:pos x="0" y="57"/>
                </a:cxn>
                <a:cxn ang="0">
                  <a:pos x="8" y="65"/>
                </a:cxn>
                <a:cxn ang="0">
                  <a:pos x="58" y="65"/>
                </a:cxn>
                <a:cxn ang="0">
                  <a:pos x="66" y="57"/>
                </a:cxn>
                <a:cxn ang="0">
                  <a:pos x="66" y="8"/>
                </a:cxn>
                <a:cxn ang="0">
                  <a:pos x="58" y="0"/>
                </a:cxn>
                <a:cxn ang="0">
                  <a:pos x="51" y="19"/>
                </a:cxn>
                <a:cxn ang="0">
                  <a:pos x="15" y="19"/>
                </a:cxn>
                <a:cxn ang="0">
                  <a:pos x="12" y="16"/>
                </a:cxn>
                <a:cxn ang="0">
                  <a:pos x="15" y="13"/>
                </a:cxn>
                <a:cxn ang="0">
                  <a:pos x="51" y="13"/>
                </a:cxn>
                <a:cxn ang="0">
                  <a:pos x="54" y="16"/>
                </a:cxn>
                <a:cxn ang="0">
                  <a:pos x="51" y="19"/>
                </a:cxn>
              </a:cxnLst>
              <a:rect l="0" t="0" r="r" b="b"/>
              <a:pathLst>
                <a:path w="66" h="65">
                  <a:moveTo>
                    <a:pt x="5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4" y="65"/>
                    <a:pt x="8" y="65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62" y="65"/>
                    <a:pt x="66" y="62"/>
                    <a:pt x="66" y="57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3"/>
                    <a:pt x="62" y="0"/>
                    <a:pt x="58" y="0"/>
                  </a:cubicBezTo>
                  <a:close/>
                  <a:moveTo>
                    <a:pt x="51" y="19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3" y="19"/>
                    <a:pt x="12" y="17"/>
                    <a:pt x="12" y="16"/>
                  </a:cubicBezTo>
                  <a:cubicBezTo>
                    <a:pt x="12" y="14"/>
                    <a:pt x="13" y="13"/>
                    <a:pt x="15" y="13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3" y="13"/>
                    <a:pt x="54" y="14"/>
                    <a:pt x="54" y="16"/>
                  </a:cubicBezTo>
                  <a:cubicBezTo>
                    <a:pt x="54" y="17"/>
                    <a:pt x="53" y="19"/>
                    <a:pt x="51" y="19"/>
                  </a:cubicBezTo>
                  <a:close/>
                </a:path>
              </a:pathLst>
            </a:custGeom>
            <a:solidFill>
              <a:srgbClr val="4251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/>
            <p:cNvSpPr>
              <a:spLocks noChangeArrowheads="1"/>
            </p:cNvSpPr>
            <p:nvPr/>
          </p:nvSpPr>
          <p:spPr bwMode="auto">
            <a:xfrm>
              <a:off x="6929843" y="2981003"/>
              <a:ext cx="60882" cy="129011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24"/>
            <p:cNvSpPr>
              <a:spLocks noChangeArrowheads="1"/>
            </p:cNvSpPr>
            <p:nvPr/>
          </p:nvSpPr>
          <p:spPr bwMode="auto">
            <a:xfrm>
              <a:off x="7353115" y="2446115"/>
              <a:ext cx="129011" cy="60882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25"/>
            <p:cNvSpPr>
              <a:spLocks noChangeArrowheads="1"/>
            </p:cNvSpPr>
            <p:nvPr/>
          </p:nvSpPr>
          <p:spPr bwMode="auto">
            <a:xfrm>
              <a:off x="7042909" y="2981003"/>
              <a:ext cx="59432" cy="129011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6"/>
            <p:cNvSpPr>
              <a:spLocks noChangeArrowheads="1"/>
            </p:cNvSpPr>
            <p:nvPr/>
          </p:nvSpPr>
          <p:spPr bwMode="auto">
            <a:xfrm>
              <a:off x="7163222" y="2981003"/>
              <a:ext cx="60882" cy="129011"/>
            </a:xfrm>
            <a:prstGeom prst="rect">
              <a:avLst/>
            </a:prstGeom>
            <a:solidFill>
              <a:srgbClr val="42518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0" y="4327440"/>
            <a:ext cx="4480714" cy="19543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/>
              <a:t>Smart TV Manufacturers </a:t>
            </a:r>
            <a:endParaRPr lang="en-CA" sz="1000" b="1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100" dirty="0" smtClean="0"/>
              <a:t>All major global TV manufacturers are shipping with HbbTV support</a:t>
            </a:r>
            <a:endParaRPr lang="en-CA" sz="10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100" dirty="0" smtClean="0"/>
              <a:t>Many smaller manufacturers are also shipping with HbbTV support</a:t>
            </a:r>
            <a:endParaRPr lang="en-CA" sz="10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100" dirty="0" smtClean="0"/>
              <a:t>Support may be enabled on a per-country basis</a:t>
            </a:r>
            <a:endParaRPr lang="en-CA" sz="1000" dirty="0" smtClean="0"/>
          </a:p>
          <a:p>
            <a:pPr lvl="0"/>
            <a:r>
              <a:rPr lang="en-US" sz="1100" b="1" dirty="0" smtClean="0"/>
              <a:t>Germany: </a:t>
            </a:r>
            <a:endParaRPr lang="en-CA" sz="1000" b="1" dirty="0" smtClean="0"/>
          </a:p>
          <a:p>
            <a:pPr marL="85725" indent="-85725">
              <a:buFont typeface="Arial" pitchFamily="34" charset="0"/>
              <a:buChar char="•"/>
            </a:pPr>
            <a:r>
              <a:rPr lang="en-US" sz="1100" dirty="0" smtClean="0"/>
              <a:t>3.4M HbbTV TV sold in 2012</a:t>
            </a:r>
            <a:endParaRPr lang="en-CA" sz="1000" dirty="0" smtClean="0"/>
          </a:p>
          <a:p>
            <a:pPr marL="85725" indent="-85725">
              <a:buFont typeface="Arial" pitchFamily="34" charset="0"/>
              <a:buChar char="•"/>
            </a:pPr>
            <a:r>
              <a:rPr lang="en-US" sz="1100" dirty="0" smtClean="0"/>
              <a:t>90% of the Connected TVs are HbbTV</a:t>
            </a:r>
            <a:endParaRPr lang="en-CA" sz="1000" dirty="0" smtClean="0"/>
          </a:p>
          <a:p>
            <a:pPr lvl="0"/>
            <a:r>
              <a:rPr lang="en-US" sz="1100" b="1" dirty="0" smtClean="0"/>
              <a:t>France:</a:t>
            </a:r>
            <a:endParaRPr lang="en-CA" sz="1000" b="1" dirty="0" smtClean="0"/>
          </a:p>
          <a:p>
            <a:pPr marL="85725" indent="-85725">
              <a:buFont typeface="Arial" pitchFamily="34" charset="0"/>
              <a:buChar char="•"/>
            </a:pPr>
            <a:r>
              <a:rPr lang="en-US" sz="1100" dirty="0" smtClean="0"/>
              <a:t>HbbTV TVs represent 55% of all TV references  </a:t>
            </a:r>
            <a:endParaRPr lang="en-CA" sz="1000" dirty="0" smtClean="0"/>
          </a:p>
          <a:p>
            <a:pPr marL="85725" indent="-85725">
              <a:buFont typeface="Arial" pitchFamily="34" charset="0"/>
              <a:buChar char="•"/>
            </a:pPr>
            <a:r>
              <a:rPr lang="en-US" sz="1100" dirty="0" smtClean="0"/>
              <a:t>Starting at 350€ retail price</a:t>
            </a:r>
            <a:endParaRPr lang="en-CA" sz="1000" dirty="0" smtClean="0"/>
          </a:p>
          <a:p>
            <a:endParaRPr lang="fr-CA" sz="1100" dirty="0"/>
          </a:p>
        </p:txBody>
      </p:sp>
      <p:sp>
        <p:nvSpPr>
          <p:cNvPr id="50" name="TextBox 49"/>
          <p:cNvSpPr txBox="1"/>
          <p:nvPr/>
        </p:nvSpPr>
        <p:spPr>
          <a:xfrm>
            <a:off x="5380074" y="4245924"/>
            <a:ext cx="376392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et-Top Box Manufacturer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CA" sz="1000" dirty="0" smtClean="0"/>
              <a:t>A</a:t>
            </a:r>
            <a:r>
              <a:rPr lang="en-US" sz="1100" dirty="0" smtClean="0"/>
              <a:t> wide range of STB manufacturers are shipping models with HbbTV support</a:t>
            </a:r>
            <a:endParaRPr lang="en-CA" sz="10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100" dirty="0" smtClean="0"/>
              <a:t>Available for satellite market in Europe with embedded CAS</a:t>
            </a:r>
            <a:endParaRPr lang="en-CA" sz="10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100" dirty="0" smtClean="0"/>
              <a:t>Available for DVB-T2 Analog Switch Off  in emerging markets </a:t>
            </a:r>
            <a:endParaRPr lang="en-CA" sz="10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100" dirty="0" smtClean="0"/>
              <a:t>Limited extra cost between HD receivers and HD with HbbTV</a:t>
            </a:r>
            <a:endParaRPr lang="en-CA" sz="1000" dirty="0" smtClean="0"/>
          </a:p>
          <a:p>
            <a:r>
              <a:rPr lang="en-US" sz="1100" dirty="0" smtClean="0"/>
              <a:t> </a:t>
            </a:r>
            <a:endParaRPr lang="en-CA" sz="1000" dirty="0" smtClean="0"/>
          </a:p>
          <a:p>
            <a:r>
              <a:rPr lang="en-US" sz="1100" b="1" dirty="0" smtClean="0"/>
              <a:t>Silicon Manufacturers</a:t>
            </a:r>
            <a:endParaRPr lang="en-CA" sz="1000" dirty="0" smtClean="0"/>
          </a:p>
          <a:p>
            <a:pPr marL="85725" indent="-85725">
              <a:buFont typeface="Arial" pitchFamily="34" charset="0"/>
              <a:buChar char="•"/>
            </a:pPr>
            <a:r>
              <a:rPr lang="en-US" sz="1100" dirty="0" smtClean="0"/>
              <a:t>Broadcom, ST </a:t>
            </a:r>
            <a:r>
              <a:rPr lang="en-US" sz="1100" dirty="0" err="1" smtClean="0"/>
              <a:t>Microelecronics</a:t>
            </a:r>
            <a:r>
              <a:rPr lang="en-US" sz="1100" dirty="0" smtClean="0"/>
              <a:t>, ++</a:t>
            </a:r>
            <a:endParaRPr lang="en-CA" sz="1000" dirty="0" smtClean="0"/>
          </a:p>
          <a:p>
            <a:endParaRPr lang="fr-CA" sz="11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516" y="-203200"/>
            <a:ext cx="7772400" cy="1114425"/>
          </a:xfrm>
        </p:spPr>
        <p:txBody>
          <a:bodyPr anchor="ctr"/>
          <a:lstStyle/>
          <a:p>
            <a:r>
              <a:rPr lang="fr-CA" dirty="0" smtClean="0"/>
              <a:t>HbbTV </a:t>
            </a:r>
            <a:r>
              <a:rPr lang="fr-CA" dirty="0" err="1" smtClean="0"/>
              <a:t>Features</a:t>
            </a:r>
            <a:r>
              <a:rPr lang="fr-CA" dirty="0" smtClean="0"/>
              <a:t> – 1.0 &amp; </a:t>
            </a:r>
            <a:r>
              <a:rPr lang="fr-CA" dirty="0" err="1" smtClean="0"/>
              <a:t>Beyond</a:t>
            </a:r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8</a:t>
            </a:fld>
            <a:endParaRPr lang="en-CA"/>
          </a:p>
        </p:txBody>
      </p:sp>
      <p:sp>
        <p:nvSpPr>
          <p:cNvPr id="5" name="TextBox 4"/>
          <p:cNvSpPr txBox="1"/>
          <p:nvPr/>
        </p:nvSpPr>
        <p:spPr>
          <a:xfrm>
            <a:off x="255589" y="1010093"/>
            <a:ext cx="4996896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85725" lvl="1" indent="-85725"/>
            <a:r>
              <a:rPr lang="en-US" sz="1600" b="1" dirty="0" smtClean="0"/>
              <a:t>HbbTV 1.0 Features</a:t>
            </a:r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Playback of broadcast and IP-streamed </a:t>
            </a:r>
            <a:r>
              <a:rPr lang="en-US" sz="1400" dirty="0" smtClean="0"/>
              <a:t>media</a:t>
            </a:r>
            <a:endParaRPr lang="en-CA" sz="11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Download media to persistent local </a:t>
            </a:r>
            <a:r>
              <a:rPr lang="en-US" sz="1400" dirty="0" smtClean="0"/>
              <a:t>storage</a:t>
            </a:r>
            <a:endParaRPr lang="en-CA" sz="11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Access to channel list and now/next EPG </a:t>
            </a:r>
            <a:r>
              <a:rPr lang="en-US" sz="1400" dirty="0" smtClean="0"/>
              <a:t>data</a:t>
            </a:r>
            <a:endParaRPr lang="en-CA" sz="1100" dirty="0" smtClean="0"/>
          </a:p>
          <a:p>
            <a:pPr marL="85725" lvl="1" indent="-85725">
              <a:buFont typeface="Arial" pitchFamily="34" charset="0"/>
              <a:buChar char="•"/>
            </a:pPr>
            <a:r>
              <a:rPr lang="en-US" sz="1400" dirty="0" smtClean="0"/>
              <a:t>Broadcast-related and broadcast-independent </a:t>
            </a:r>
            <a:r>
              <a:rPr lang="en-US" sz="1400" dirty="0" smtClean="0"/>
              <a:t>applications</a:t>
            </a:r>
            <a:endParaRPr lang="en-CA" sz="11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038612" y="2504716"/>
            <a:ext cx="6007396" cy="16312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600" b="1" dirty="0" smtClean="0"/>
              <a:t>HbbTV 1.5 Features</a:t>
            </a:r>
            <a:endParaRPr lang="en-CA" sz="1600" b="1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EIT-Schedule access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MPEG DASH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DRM APIs 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Deployments: France on Terrestrial and Satellite / Spain on TDT </a:t>
            </a:r>
            <a:r>
              <a:rPr lang="en-US" sz="1400" dirty="0" err="1" smtClean="0"/>
              <a:t>Hibrida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All 2014 HbbTV deployments will be based on HbbTV </a:t>
            </a:r>
            <a:r>
              <a:rPr lang="en-US" sz="1400" dirty="0" smtClean="0"/>
              <a:t>1.5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US" sz="1400" dirty="0" smtClean="0"/>
              <a:t>HbbTV association working on 1.5 test suite for interoperability </a:t>
            </a:r>
            <a:r>
              <a:rPr lang="en-US" sz="1400" dirty="0" smtClean="0"/>
              <a:t>purposes</a:t>
            </a:r>
            <a:endParaRPr lang="en-CA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2832136" y="4430226"/>
            <a:ext cx="4918999" cy="18466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1600" b="1" dirty="0" smtClean="0"/>
              <a:t>HbbTV 2.0 Proposed Features</a:t>
            </a:r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Improved support for </a:t>
            </a:r>
            <a:r>
              <a:rPr lang="en-CA" sz="1400" dirty="0" smtClean="0"/>
              <a:t>HTML5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Companion screen app launching and </a:t>
            </a:r>
            <a:r>
              <a:rPr lang="en-CA" sz="1400" dirty="0" smtClean="0"/>
              <a:t>synchronization Push </a:t>
            </a:r>
            <a:r>
              <a:rPr lang="en-CA" sz="1400" dirty="0" smtClean="0"/>
              <a:t>VOD </a:t>
            </a:r>
            <a:r>
              <a:rPr lang="en-CA" sz="1400" dirty="0" smtClean="0"/>
              <a:t>support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Improved support for ad </a:t>
            </a:r>
            <a:r>
              <a:rPr lang="en-CA" sz="1400" dirty="0" smtClean="0"/>
              <a:t>insertion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Improved synchronization between media and applications.</a:t>
            </a:r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Support for HEVC </a:t>
            </a:r>
            <a:r>
              <a:rPr lang="en-CA" sz="1400" dirty="0" smtClean="0"/>
              <a:t>video</a:t>
            </a:r>
            <a:endParaRPr lang="en-CA" sz="1400" dirty="0" smtClean="0"/>
          </a:p>
          <a:p>
            <a:pPr marL="85725" lvl="0" indent="-85725">
              <a:buFont typeface="Arial" pitchFamily="34" charset="0"/>
              <a:buChar char="•"/>
            </a:pPr>
            <a:r>
              <a:rPr lang="en-CA" sz="1400" dirty="0" smtClean="0"/>
              <a:t>Improved support for MPEG </a:t>
            </a:r>
            <a:r>
              <a:rPr lang="en-CA" sz="1400" dirty="0" smtClean="0"/>
              <a:t>DASH</a:t>
            </a:r>
            <a:endParaRPr lang="en-CA" sz="1400" dirty="0" smtClean="0"/>
          </a:p>
        </p:txBody>
      </p:sp>
      <p:sp>
        <p:nvSpPr>
          <p:cNvPr id="10" name="Isosceles Triangle 9"/>
          <p:cNvSpPr/>
          <p:nvPr/>
        </p:nvSpPr>
        <p:spPr>
          <a:xfrm rot="5400000">
            <a:off x="4965805" y="1187465"/>
            <a:ext cx="1430717" cy="857361"/>
          </a:xfrm>
          <a:prstGeom prst="triangle">
            <a:avLst/>
          </a:prstGeom>
          <a:solidFill>
            <a:schemeClr val="bg1">
              <a:lumMod val="85000"/>
            </a:schemeClr>
          </a:solidFill>
          <a:ln w="6350" cmpd="sng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700" b="1" cap="all" dirty="0" smtClean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11" name="Isosceles Triangle 10"/>
          <p:cNvSpPr/>
          <p:nvPr/>
        </p:nvSpPr>
        <p:spPr>
          <a:xfrm rot="5400000">
            <a:off x="6656101" y="2690487"/>
            <a:ext cx="1913301" cy="121177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6350" cmpd="sng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700" b="1" cap="all" dirty="0" smtClean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7175327" y="4751426"/>
            <a:ext cx="2094051" cy="1211777"/>
          </a:xfrm>
          <a:prstGeom prst="triangle">
            <a:avLst/>
          </a:prstGeom>
          <a:solidFill>
            <a:schemeClr val="bg1">
              <a:lumMod val="85000"/>
            </a:schemeClr>
          </a:solidFill>
          <a:ln w="6350" cmpd="sng">
            <a:noFill/>
            <a:prstDash val="dash"/>
          </a:ln>
          <a:effectLst/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700" b="1" cap="all" dirty="0" smtClean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9526"/>
            <a:ext cx="7772400" cy="851712"/>
          </a:xfrm>
        </p:spPr>
        <p:txBody>
          <a:bodyPr/>
          <a:lstStyle/>
          <a:p>
            <a:r>
              <a:rPr lang="fr-CA" dirty="0" smtClean="0"/>
              <a:t>HbbTV Services &amp; </a:t>
            </a:r>
            <a:r>
              <a:rPr lang="fr-CA" dirty="0" err="1" smtClean="0"/>
              <a:t>Apps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12433"/>
            <a:ext cx="3365205" cy="4650217"/>
          </a:xfrm>
        </p:spPr>
        <p:txBody>
          <a:bodyPr/>
          <a:lstStyle/>
          <a:p>
            <a:pPr lvl="0"/>
            <a:r>
              <a:rPr lang="en-US" sz="1800" dirty="0" smtClean="0"/>
              <a:t>Video On Demand</a:t>
            </a:r>
            <a:endParaRPr lang="en-CA" sz="1400" dirty="0" smtClean="0"/>
          </a:p>
          <a:p>
            <a:pPr lvl="1"/>
            <a:r>
              <a:rPr lang="en-US" sz="1600" dirty="0" smtClean="0"/>
              <a:t>Catch up</a:t>
            </a:r>
            <a:endParaRPr lang="en-CA" sz="1200" dirty="0" smtClean="0"/>
          </a:p>
          <a:p>
            <a:pPr lvl="1"/>
            <a:r>
              <a:rPr lang="en-US" sz="1600" dirty="0" smtClean="0"/>
              <a:t>Start Over</a:t>
            </a:r>
            <a:endParaRPr lang="en-CA" sz="1200" dirty="0" smtClean="0"/>
          </a:p>
          <a:p>
            <a:pPr lvl="0"/>
            <a:r>
              <a:rPr lang="en-US" sz="1800" dirty="0" smtClean="0"/>
              <a:t>Information services</a:t>
            </a:r>
            <a:endParaRPr lang="en-CA" sz="1400" dirty="0" smtClean="0"/>
          </a:p>
          <a:p>
            <a:pPr lvl="1"/>
            <a:r>
              <a:rPr lang="en-US" sz="1600" dirty="0" smtClean="0"/>
              <a:t>News, weather, sports</a:t>
            </a:r>
            <a:endParaRPr lang="en-CA" sz="1200" dirty="0" smtClean="0"/>
          </a:p>
          <a:p>
            <a:pPr lvl="1"/>
            <a:r>
              <a:rPr lang="en-US" sz="1600" dirty="0" err="1" smtClean="0"/>
              <a:t>eGovernment</a:t>
            </a:r>
            <a:endParaRPr lang="en-CA" sz="1200" dirty="0" smtClean="0"/>
          </a:p>
          <a:p>
            <a:pPr lvl="1"/>
            <a:r>
              <a:rPr lang="en-US" sz="1600" dirty="0" smtClean="0"/>
              <a:t>Guide, EPG</a:t>
            </a:r>
            <a:endParaRPr lang="en-CA" sz="1200" dirty="0" smtClean="0"/>
          </a:p>
          <a:p>
            <a:pPr lvl="0"/>
            <a:r>
              <a:rPr lang="en-US" sz="1800" dirty="0" smtClean="0"/>
              <a:t>Enhanced TV</a:t>
            </a:r>
            <a:endParaRPr lang="en-CA" sz="1400" dirty="0" smtClean="0"/>
          </a:p>
          <a:p>
            <a:pPr lvl="0"/>
            <a:r>
              <a:rPr lang="en-US" sz="1800" dirty="0" smtClean="0"/>
              <a:t>Games</a:t>
            </a:r>
            <a:endParaRPr lang="en-CA" sz="1400" dirty="0" smtClean="0"/>
          </a:p>
          <a:p>
            <a:pPr lvl="0"/>
            <a:r>
              <a:rPr lang="en-US" sz="1800" dirty="0" smtClean="0"/>
              <a:t>Education</a:t>
            </a:r>
            <a:endParaRPr lang="en-CA" sz="1400" dirty="0" smtClean="0"/>
          </a:p>
          <a:p>
            <a:pPr lvl="0"/>
            <a:r>
              <a:rPr lang="en-US" sz="1800" dirty="0" smtClean="0"/>
              <a:t>Advertising</a:t>
            </a:r>
            <a:endParaRPr lang="en-CA" sz="1400" dirty="0" smtClean="0"/>
          </a:p>
          <a:p>
            <a:pPr lvl="0"/>
            <a:r>
              <a:rPr lang="en-US" sz="1800" dirty="0" smtClean="0"/>
              <a:t>T-Shopping</a:t>
            </a:r>
            <a:endParaRPr lang="en-CA" sz="1400" dirty="0" smtClean="0"/>
          </a:p>
          <a:p>
            <a:pPr lvl="0"/>
            <a:r>
              <a:rPr lang="en-US" sz="1800" dirty="0" smtClean="0"/>
              <a:t>TV portal</a:t>
            </a:r>
            <a:endParaRPr lang="en-CA" sz="1400" dirty="0" smtClean="0"/>
          </a:p>
          <a:p>
            <a:pPr lvl="0"/>
            <a:r>
              <a:rPr lang="en-US" sz="1800" dirty="0" smtClean="0"/>
              <a:t>Companion screen</a:t>
            </a:r>
            <a:endParaRPr lang="en-CA" sz="1400" dirty="0" smtClean="0"/>
          </a:p>
          <a:p>
            <a:endParaRPr lang="fr-CA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63424-8F5B-4E44-8505-F9C5D492B398}" type="slidenum">
              <a:rPr lang="en-CA" smtClean="0"/>
              <a:pPr/>
              <a:t>9</a:t>
            </a:fld>
            <a:endParaRPr lang="en-CA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3999799" y="5485920"/>
            <a:ext cx="5044189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161817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fr-FR" sz="1400" dirty="0" err="1">
                <a:solidFill>
                  <a:srgbClr val="000000"/>
                </a:solidFill>
                <a:latin typeface="+mn-lt"/>
              </a:rPr>
              <a:t>Easy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  <a:latin typeface="+mn-lt"/>
              </a:rPr>
              <a:t>access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to multiple HbbTV services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with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OK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button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</a:t>
            </a:r>
            <a:endParaRPr lang="fr-FR" sz="1400" dirty="0" smtClean="0">
              <a:solidFill>
                <a:srgbClr val="000000"/>
              </a:solidFill>
              <a:latin typeface="+mn-lt"/>
            </a:endParaRPr>
          </a:p>
          <a:p>
            <a:pPr marL="542925" lvl="2" indent="-85725">
              <a:buFont typeface="Arial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EPG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Méteo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, Salto,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Player, ++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fr-FR" sz="1400" dirty="0" err="1" smtClean="0">
                <a:solidFill>
                  <a:srgbClr val="000000"/>
                </a:solidFill>
                <a:latin typeface="+mn-lt"/>
              </a:rPr>
              <a:t>Available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on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each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France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Televisions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  <a:latin typeface="+mn-lt"/>
              </a:rPr>
              <a:t>channel</a:t>
            </a:r>
            <a:endParaRPr lang="fr-FR" sz="1400" dirty="0" smtClean="0">
              <a:solidFill>
                <a:srgbClr val="000000"/>
              </a:solidFill>
              <a:latin typeface="+mn-lt"/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Banner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is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dynamic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and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contextual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– </a:t>
            </a:r>
            <a:r>
              <a:rPr lang="fr-FR" sz="1400" dirty="0" err="1" smtClean="0">
                <a:solidFill>
                  <a:srgbClr val="000000"/>
                </a:solidFill>
                <a:latin typeface="+mn-lt"/>
              </a:rPr>
              <a:t>based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 on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channel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fr-FR" sz="1400" dirty="0" err="1">
                <a:solidFill>
                  <a:srgbClr val="000000"/>
                </a:solidFill>
                <a:latin typeface="+mn-lt"/>
              </a:rPr>
              <a:t>event</a:t>
            </a:r>
            <a:r>
              <a:rPr lang="fr-FR" sz="1400" dirty="0">
                <a:solidFill>
                  <a:srgbClr val="000000"/>
                </a:solidFill>
                <a:latin typeface="+mn-lt"/>
              </a:rPr>
              <a:t>, program, </a:t>
            </a:r>
            <a:r>
              <a:rPr lang="fr-FR" sz="1400" dirty="0" smtClean="0">
                <a:solidFill>
                  <a:srgbClr val="000000"/>
                </a:solidFill>
                <a:latin typeface="+mn-lt"/>
              </a:rPr>
              <a:t>time</a:t>
            </a:r>
            <a:endParaRPr lang="fr-FR" sz="140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6" name="Group 80"/>
          <p:cNvGrpSpPr>
            <a:grpSpLocks/>
          </p:cNvGrpSpPr>
          <p:nvPr/>
        </p:nvGrpSpPr>
        <p:grpSpPr bwMode="auto">
          <a:xfrm>
            <a:off x="4986670" y="1452659"/>
            <a:ext cx="2921462" cy="2008091"/>
            <a:chOff x="2487" y="643"/>
            <a:chExt cx="2586" cy="1679"/>
          </a:xfrm>
        </p:grpSpPr>
        <p:pic>
          <p:nvPicPr>
            <p:cNvPr id="7" name="Picture 6" descr="app_legendes_FACE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487" y="643"/>
              <a:ext cx="2586" cy="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75" descr="CDA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517" y="669"/>
              <a:ext cx="2540" cy="1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" name="Group 79"/>
          <p:cNvGrpSpPr>
            <a:grpSpLocks/>
          </p:cNvGrpSpPr>
          <p:nvPr/>
        </p:nvGrpSpPr>
        <p:grpSpPr bwMode="auto">
          <a:xfrm>
            <a:off x="4978189" y="3487023"/>
            <a:ext cx="2942641" cy="1922049"/>
            <a:chOff x="2623" y="779"/>
            <a:chExt cx="2586" cy="1679"/>
          </a:xfrm>
        </p:grpSpPr>
        <p:pic>
          <p:nvPicPr>
            <p:cNvPr id="10" name="Picture 6" descr="app_legendes_FACE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623" y="779"/>
              <a:ext cx="2586" cy="16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77" descr="H2O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632" y="797"/>
              <a:ext cx="2561" cy="1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TextBox 11"/>
          <p:cNvSpPr txBox="1"/>
          <p:nvPr/>
        </p:nvSpPr>
        <p:spPr>
          <a:xfrm>
            <a:off x="4578350" y="967554"/>
            <a:ext cx="34458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2000" dirty="0" err="1" smtClean="0"/>
              <a:t>Examples</a:t>
            </a:r>
            <a:r>
              <a:rPr lang="fr-CA" sz="2000" dirty="0" smtClean="0"/>
              <a:t>: France Television</a:t>
            </a:r>
            <a:endParaRPr lang="fr-CA" sz="20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heme/theme1.xml><?xml version="1.0" encoding="utf-8"?>
<a:theme xmlns:a="http://schemas.openxmlformats.org/drawingml/2006/main" name="Espial Template">
  <a:themeElements>
    <a:clrScheme name="Espial standard colour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A01932"/>
      </a:accent1>
      <a:accent2>
        <a:srgbClr val="79C174"/>
      </a:accent2>
      <a:accent3>
        <a:srgbClr val="425180"/>
      </a:accent3>
      <a:accent4>
        <a:srgbClr val="D6BC5A"/>
      </a:accent4>
      <a:accent5>
        <a:srgbClr val="737373"/>
      </a:accent5>
      <a:accent6>
        <a:srgbClr val="2D2D8A"/>
      </a:accent6>
      <a:hlink>
        <a:srgbClr val="009999"/>
      </a:hlink>
      <a:folHlink>
        <a:srgbClr val="99CC00"/>
      </a:folHlink>
    </a:clrScheme>
    <a:fontScheme name="2_Blank Presentation">
      <a:majorFont>
        <a:latin typeface=""/>
        <a:ea typeface="MS PGothic"/>
        <a:cs typeface=""/>
      </a:majorFont>
      <a:minorFont>
        <a:latin typeface="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E9E9"/>
        </a:solidFill>
        <a:ln w="6350" cmpd="sng">
          <a:solidFill>
            <a:schemeClr val="tx1">
              <a:lumMod val="75000"/>
              <a:lumOff val="25000"/>
            </a:schemeClr>
          </a:solidFill>
          <a:prstDash val="dash"/>
        </a:ln>
        <a:effectLst/>
      </a:spPr>
      <a:bodyPr rtlCol="0" anchor="ctr"/>
      <a:lstStyle>
        <a:defPPr algn="ctr">
          <a:defRPr sz="700" b="1" cap="all" dirty="0" smtClean="0">
            <a:solidFill>
              <a:srgbClr val="000000"/>
            </a:solidFill>
            <a:latin typeface="Arial Narrow"/>
            <a:cs typeface="Arial Narrow"/>
          </a:defRPr>
        </a:defPPr>
      </a:lstStyle>
      <a:style>
        <a:lnRef idx="3">
          <a:schemeClr val="lt1"/>
        </a:lnRef>
        <a:fillRef idx="1">
          <a:schemeClr val="dk1"/>
        </a:fillRef>
        <a:effectRef idx="1">
          <a:schemeClr val="dk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pial Template</Template>
  <TotalTime>22550</TotalTime>
  <Words>669</Words>
  <Application>Microsoft Office PowerPoint</Application>
  <PresentationFormat>Letter Paper (8.5x11 in)</PresentationFormat>
  <Paragraphs>122</Paragraphs>
  <Slides>10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Espial Template</vt:lpstr>
      <vt:lpstr>HbbTV: Reinventing the Broadcast TV UX  presented by: Kirk Edwardson date: March 12, 2013 </vt:lpstr>
      <vt:lpstr>Agenda</vt:lpstr>
      <vt:lpstr>HbbTV Overview</vt:lpstr>
      <vt:lpstr>HbbTV Business Drivers</vt:lpstr>
      <vt:lpstr>HbbTV Adoption - Europe</vt:lpstr>
      <vt:lpstr>Slide 6</vt:lpstr>
      <vt:lpstr>HbbTV Devices  Today &amp; Tomorrow</vt:lpstr>
      <vt:lpstr>HbbTV Features – 1.0 &amp; Beyond</vt:lpstr>
      <vt:lpstr>HbbTV Services &amp; Apps</vt:lpstr>
      <vt:lpstr>Conclusion</vt:lpstr>
    </vt:vector>
  </TitlesOfParts>
  <Company>Espial Grou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deo Services Evolution  Date: May 29th 2012  Presenter: Mick McCluskey</dc:title>
  <dc:creator>MMcCluskey</dc:creator>
  <cp:lastModifiedBy>KEdwardson</cp:lastModifiedBy>
  <cp:revision>922</cp:revision>
  <dcterms:created xsi:type="dcterms:W3CDTF">2014-01-24T18:17:45Z</dcterms:created>
  <dcterms:modified xsi:type="dcterms:W3CDTF">2014-03-12T09:22:12Z</dcterms:modified>
</cp:coreProperties>
</file>